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8" r:id="rId2"/>
  </p:sldMasterIdLst>
  <p:notesMasterIdLst>
    <p:notesMasterId r:id="rId27"/>
  </p:notesMasterIdLst>
  <p:handoutMasterIdLst>
    <p:handoutMasterId r:id="rId28"/>
  </p:handoutMasterIdLst>
  <p:sldIdLst>
    <p:sldId id="2147481411" r:id="rId3"/>
    <p:sldId id="2147481436" r:id="rId4"/>
    <p:sldId id="2147481439" r:id="rId5"/>
    <p:sldId id="2147481413" r:id="rId6"/>
    <p:sldId id="2147481435" r:id="rId7"/>
    <p:sldId id="2147481412" r:id="rId8"/>
    <p:sldId id="2147481423" r:id="rId9"/>
    <p:sldId id="2147481414" r:id="rId10"/>
    <p:sldId id="2147481415" r:id="rId11"/>
    <p:sldId id="2147481418" r:id="rId12"/>
    <p:sldId id="2147481431" r:id="rId13"/>
    <p:sldId id="2147481430" r:id="rId14"/>
    <p:sldId id="2147481419" r:id="rId15"/>
    <p:sldId id="2147481421" r:id="rId16"/>
    <p:sldId id="2147481420" r:id="rId17"/>
    <p:sldId id="2147481438" r:id="rId18"/>
    <p:sldId id="2147481437" r:id="rId19"/>
    <p:sldId id="2147481432" r:id="rId20"/>
    <p:sldId id="2147481433" r:id="rId21"/>
    <p:sldId id="2147481434" r:id="rId22"/>
    <p:sldId id="2147481441" r:id="rId23"/>
    <p:sldId id="2147481442" r:id="rId24"/>
    <p:sldId id="2147481440" r:id="rId25"/>
    <p:sldId id="2147481402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400" kern="1200">
        <a:solidFill>
          <a:schemeClr val="tx2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lnSpc>
        <a:spcPct val="9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6pPr>
    <a:lvl7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7pPr>
    <a:lvl8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8pPr>
    <a:lvl9pPr marL="864000" indent="-216000" algn="l" defTabSz="914400" rtl="0" eaLnBrk="1" latinLnBrk="0" hangingPunct="1">
      <a:lnSpc>
        <a:spcPct val="90000"/>
      </a:lnSpc>
      <a:spcBef>
        <a:spcPts val="600"/>
      </a:spcBef>
      <a:buFont typeface="Roboto" panose="02000000000000000000" pitchFamily="2" charset="0"/>
      <a:buChar char="–"/>
      <a:defRPr sz="1400" kern="1200">
        <a:solidFill>
          <a:schemeClr val="tx2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4" orient="horz" pos="890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on Sztuka" initials="MS" lastIdx="1" clrIdx="0">
    <p:extLst>
      <p:ext uri="{19B8F6BF-5375-455C-9EA6-DF929625EA0E}">
        <p15:presenceInfo xmlns:p15="http://schemas.microsoft.com/office/powerpoint/2012/main" userId="S::marion.sztuka@strategy-compass.com::486c4479-caac-4d16-a015-cb07c99f9d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F26"/>
    <a:srgbClr val="6B6B6B"/>
    <a:srgbClr val="FFFFFF"/>
    <a:srgbClr val="007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2AF9EF-F390-4D92-AA95-BCA4CEEC9815}" v="7" dt="2023-10-17T09:35:53.048"/>
  </p1510:revLst>
</p1510:revInfo>
</file>

<file path=ppt/tableStyles.xml><?xml version="1.0" encoding="utf-8"?>
<a:tblStyleLst xmlns:a="http://schemas.openxmlformats.org/drawingml/2006/main" def="{401A4AF6-95C6-4AA6-A552-55ACE4769191}">
  <a:tblStyle styleId="{401A4AF6-95C6-4AA6-A552-55ACE4769191}" styleName="NTT table">
    <a:wholeTbl>
      <a:tcTxStyle>
        <a:fontRef idx="minor">
          <a:prstClr val="black"/>
        </a:fontRef>
        <a:schemeClr val="dk2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accent1"/>
      </a:tcTxStyle>
      <a:tcStyle>
        <a:tcBdr/>
      </a:tcStyle>
    </a:lastCol>
    <a:firstCol>
      <a:tcTxStyle b="off">
        <a:fontRef idx="minor">
          <a:prstClr val="black"/>
        </a:fontRef>
        <a:schemeClr val="accent1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28575" cmpd="sng">
              <a:solidFill>
                <a:schemeClr val="accent2"/>
              </a:solidFill>
            </a:ln>
          </a:top>
        </a:tcBdr>
      </a:tcStyle>
    </a:lastRow>
    <a:firstRow>
      <a:tcTxStyle b="off">
        <a:fontRef idx="minor">
          <a:prstClr val="black"/>
        </a:fontRef>
        <a:schemeClr val="accent1"/>
      </a:tcTxStyle>
      <a:tcStyle>
        <a:tcBdr>
          <a:bottom>
            <a:ln w="28575" cmpd="sng">
              <a:solidFill>
                <a:schemeClr val="accent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80086" autoAdjust="0"/>
  </p:normalViewPr>
  <p:slideViewPr>
    <p:cSldViewPr snapToGrid="0" snapToObjects="1" showGuides="1">
      <p:cViewPr varScale="1">
        <p:scale>
          <a:sx n="83" d="100"/>
          <a:sy n="83" d="100"/>
        </p:scale>
        <p:origin x="1674" y="78"/>
      </p:cViewPr>
      <p:guideLst>
        <p:guide orient="horz" pos="210"/>
        <p:guide orient="horz" pos="89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875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494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6E8184-6640-4F09-A527-8D3861FEAF58}" type="doc">
      <dgm:prSet loTypeId="urn:microsoft.com/office/officeart/2017/3/layout/DropPinTimeline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67BA63-B818-4CAA-A737-FBEB4421EC00}">
      <dgm:prSet/>
      <dgm:spPr/>
      <dgm:t>
        <a:bodyPr/>
        <a:lstStyle/>
        <a:p>
          <a:pPr>
            <a:defRPr b="1"/>
          </a:pPr>
          <a:r>
            <a:rPr lang="en-US"/>
            <a:t>10:00 – 10:30</a:t>
          </a:r>
        </a:p>
      </dgm:t>
    </dgm:pt>
    <dgm:pt modelId="{07A20F48-AF29-4EAB-AE7E-DE71EFFC6355}" type="parTrans" cxnId="{97D0B149-CB52-4785-839C-0958DC6DBBBA}">
      <dgm:prSet/>
      <dgm:spPr/>
      <dgm:t>
        <a:bodyPr/>
        <a:lstStyle/>
        <a:p>
          <a:endParaRPr lang="en-US"/>
        </a:p>
      </dgm:t>
    </dgm:pt>
    <dgm:pt modelId="{0C387DFB-2BCA-4760-8060-F939FF8F231D}" type="sibTrans" cxnId="{97D0B149-CB52-4785-839C-0958DC6DBBBA}">
      <dgm:prSet/>
      <dgm:spPr/>
      <dgm:t>
        <a:bodyPr/>
        <a:lstStyle/>
        <a:p>
          <a:endParaRPr lang="en-US"/>
        </a:p>
      </dgm:t>
    </dgm:pt>
    <dgm:pt modelId="{7C89D940-5D37-49F9-858D-25BB1E58CF58}">
      <dgm:prSet/>
      <dgm:spPr/>
      <dgm:t>
        <a:bodyPr/>
        <a:lstStyle/>
        <a:p>
          <a:r>
            <a:rPr lang="en-US"/>
            <a:t>Introduction and AWS terminology</a:t>
          </a:r>
        </a:p>
      </dgm:t>
    </dgm:pt>
    <dgm:pt modelId="{3BF83C38-8C8C-40BB-AA44-333E09578C7F}" type="parTrans" cxnId="{705D0387-E5D0-464F-BB95-2D59B3AD828C}">
      <dgm:prSet/>
      <dgm:spPr/>
      <dgm:t>
        <a:bodyPr/>
        <a:lstStyle/>
        <a:p>
          <a:endParaRPr lang="en-US"/>
        </a:p>
      </dgm:t>
    </dgm:pt>
    <dgm:pt modelId="{3E84EB8D-FD6F-498F-BED5-9993DE96B127}" type="sibTrans" cxnId="{705D0387-E5D0-464F-BB95-2D59B3AD828C}">
      <dgm:prSet/>
      <dgm:spPr/>
      <dgm:t>
        <a:bodyPr/>
        <a:lstStyle/>
        <a:p>
          <a:endParaRPr lang="en-US"/>
        </a:p>
      </dgm:t>
    </dgm:pt>
    <dgm:pt modelId="{99964707-1C2B-46E7-BD29-3F9C4DCD0F40}">
      <dgm:prSet/>
      <dgm:spPr/>
      <dgm:t>
        <a:bodyPr/>
        <a:lstStyle/>
        <a:p>
          <a:pPr>
            <a:defRPr b="1"/>
          </a:pPr>
          <a:r>
            <a:rPr lang="en-US"/>
            <a:t>10:30 – 10:45</a:t>
          </a:r>
        </a:p>
      </dgm:t>
    </dgm:pt>
    <dgm:pt modelId="{73B4D98B-D350-43F5-825C-BE33A09050FC}" type="parTrans" cxnId="{42678EFD-DB52-4236-A3B5-35A5DAC3B14C}">
      <dgm:prSet/>
      <dgm:spPr/>
      <dgm:t>
        <a:bodyPr/>
        <a:lstStyle/>
        <a:p>
          <a:endParaRPr lang="en-US"/>
        </a:p>
      </dgm:t>
    </dgm:pt>
    <dgm:pt modelId="{96B47E33-D9BD-45E9-B9B8-4FEE05B2C037}" type="sibTrans" cxnId="{42678EFD-DB52-4236-A3B5-35A5DAC3B14C}">
      <dgm:prSet/>
      <dgm:spPr/>
      <dgm:t>
        <a:bodyPr/>
        <a:lstStyle/>
        <a:p>
          <a:endParaRPr lang="en-US"/>
        </a:p>
      </dgm:t>
    </dgm:pt>
    <dgm:pt modelId="{DC59C05E-749D-47C9-864E-D4F1AC863C0D}">
      <dgm:prSet/>
      <dgm:spPr/>
      <dgm:t>
        <a:bodyPr/>
        <a:lstStyle/>
        <a:p>
          <a:r>
            <a:rPr lang="en-US"/>
            <a:t>Set up AWS CLI</a:t>
          </a:r>
        </a:p>
      </dgm:t>
    </dgm:pt>
    <dgm:pt modelId="{C0967635-0FC3-44B9-8D2E-8A3AF5A1C72A}" type="parTrans" cxnId="{1D8BCDF8-65CC-4268-98FA-495C381B1A77}">
      <dgm:prSet/>
      <dgm:spPr/>
      <dgm:t>
        <a:bodyPr/>
        <a:lstStyle/>
        <a:p>
          <a:endParaRPr lang="en-US"/>
        </a:p>
      </dgm:t>
    </dgm:pt>
    <dgm:pt modelId="{353A13B3-DF88-4D40-8649-1B8D36C9E956}" type="sibTrans" cxnId="{1D8BCDF8-65CC-4268-98FA-495C381B1A77}">
      <dgm:prSet/>
      <dgm:spPr/>
      <dgm:t>
        <a:bodyPr/>
        <a:lstStyle/>
        <a:p>
          <a:endParaRPr lang="en-US"/>
        </a:p>
      </dgm:t>
    </dgm:pt>
    <dgm:pt modelId="{4CA74B4D-450A-4B1A-AF65-713E4E88A15A}">
      <dgm:prSet/>
      <dgm:spPr/>
      <dgm:t>
        <a:bodyPr/>
        <a:lstStyle/>
        <a:p>
          <a:pPr>
            <a:defRPr b="1"/>
          </a:pPr>
          <a:r>
            <a:rPr lang="en-US"/>
            <a:t>11:00 – 11:30</a:t>
          </a:r>
        </a:p>
      </dgm:t>
    </dgm:pt>
    <dgm:pt modelId="{C15D8AA6-4717-4CE1-A1AB-67E9464F5147}" type="parTrans" cxnId="{93E9BB17-A082-43A4-8F8F-3122CF39F9F3}">
      <dgm:prSet/>
      <dgm:spPr/>
      <dgm:t>
        <a:bodyPr/>
        <a:lstStyle/>
        <a:p>
          <a:endParaRPr lang="en-US"/>
        </a:p>
      </dgm:t>
    </dgm:pt>
    <dgm:pt modelId="{D44480AC-D7F1-4B5C-B22D-7F844B1DBE2E}" type="sibTrans" cxnId="{93E9BB17-A082-43A4-8F8F-3122CF39F9F3}">
      <dgm:prSet/>
      <dgm:spPr/>
      <dgm:t>
        <a:bodyPr/>
        <a:lstStyle/>
        <a:p>
          <a:endParaRPr lang="en-US"/>
        </a:p>
      </dgm:t>
    </dgm:pt>
    <dgm:pt modelId="{7B17E182-27DA-4472-8656-1596786DD0D9}">
      <dgm:prSet/>
      <dgm:spPr/>
      <dgm:t>
        <a:bodyPr/>
        <a:lstStyle/>
        <a:p>
          <a:r>
            <a:rPr lang="en-US"/>
            <a:t>S3</a:t>
          </a:r>
        </a:p>
      </dgm:t>
    </dgm:pt>
    <dgm:pt modelId="{013B19BA-9DF0-4CCB-BEA1-ACAA71895E89}" type="parTrans" cxnId="{BD47F8A5-2FD6-4127-9A86-F57719BC2399}">
      <dgm:prSet/>
      <dgm:spPr/>
      <dgm:t>
        <a:bodyPr/>
        <a:lstStyle/>
        <a:p>
          <a:endParaRPr lang="en-US"/>
        </a:p>
      </dgm:t>
    </dgm:pt>
    <dgm:pt modelId="{536A0CA4-973C-4DA3-A086-417B44A9F35F}" type="sibTrans" cxnId="{BD47F8A5-2FD6-4127-9A86-F57719BC2399}">
      <dgm:prSet/>
      <dgm:spPr/>
      <dgm:t>
        <a:bodyPr/>
        <a:lstStyle/>
        <a:p>
          <a:endParaRPr lang="en-US"/>
        </a:p>
      </dgm:t>
    </dgm:pt>
    <dgm:pt modelId="{6CE3F52C-BE2C-4084-9060-714D02F35C17}">
      <dgm:prSet/>
      <dgm:spPr/>
      <dgm:t>
        <a:bodyPr/>
        <a:lstStyle/>
        <a:p>
          <a:pPr>
            <a:defRPr b="1"/>
          </a:pPr>
          <a:r>
            <a:rPr lang="en-US"/>
            <a:t>11:30 – 12:30</a:t>
          </a:r>
        </a:p>
      </dgm:t>
    </dgm:pt>
    <dgm:pt modelId="{1755B2A3-F9B2-43EE-8313-50082B2482D3}" type="parTrans" cxnId="{92842ADA-4A04-4A0C-AC3C-87A9674E1FF4}">
      <dgm:prSet/>
      <dgm:spPr/>
      <dgm:t>
        <a:bodyPr/>
        <a:lstStyle/>
        <a:p>
          <a:endParaRPr lang="en-US"/>
        </a:p>
      </dgm:t>
    </dgm:pt>
    <dgm:pt modelId="{3245B5C7-74FE-408D-971E-C8C331F96863}" type="sibTrans" cxnId="{92842ADA-4A04-4A0C-AC3C-87A9674E1FF4}">
      <dgm:prSet/>
      <dgm:spPr/>
      <dgm:t>
        <a:bodyPr/>
        <a:lstStyle/>
        <a:p>
          <a:endParaRPr lang="en-US"/>
        </a:p>
      </dgm:t>
    </dgm:pt>
    <dgm:pt modelId="{06A406EE-B63B-41A3-AF82-00ACDAB169BA}">
      <dgm:prSet/>
      <dgm:spPr/>
      <dgm:t>
        <a:bodyPr/>
        <a:lstStyle/>
        <a:p>
          <a:r>
            <a:rPr lang="en-US"/>
            <a:t>DynamoDB</a:t>
          </a:r>
        </a:p>
      </dgm:t>
    </dgm:pt>
    <dgm:pt modelId="{63214697-1B43-43C6-8664-B9A1C4C799AE}" type="parTrans" cxnId="{A13CFFAD-76C9-4AD1-8B31-DFE7383EDF66}">
      <dgm:prSet/>
      <dgm:spPr/>
      <dgm:t>
        <a:bodyPr/>
        <a:lstStyle/>
        <a:p>
          <a:endParaRPr lang="en-US"/>
        </a:p>
      </dgm:t>
    </dgm:pt>
    <dgm:pt modelId="{9607BFAA-7F31-407E-81C5-33FDD159926F}" type="sibTrans" cxnId="{A13CFFAD-76C9-4AD1-8B31-DFE7383EDF66}">
      <dgm:prSet/>
      <dgm:spPr/>
      <dgm:t>
        <a:bodyPr/>
        <a:lstStyle/>
        <a:p>
          <a:endParaRPr lang="en-US"/>
        </a:p>
      </dgm:t>
    </dgm:pt>
    <dgm:pt modelId="{63166B40-F97B-4A3E-9550-0C4884A88B7C}">
      <dgm:prSet/>
      <dgm:spPr/>
      <dgm:t>
        <a:bodyPr/>
        <a:lstStyle/>
        <a:p>
          <a:pPr>
            <a:defRPr b="1"/>
          </a:pPr>
          <a:r>
            <a:rPr lang="en-US"/>
            <a:t>12:30 – 13:30</a:t>
          </a:r>
        </a:p>
      </dgm:t>
    </dgm:pt>
    <dgm:pt modelId="{4106CDC8-F9D8-4B2B-B84D-8B644D1F715D}" type="parTrans" cxnId="{678AC83C-8CA2-496A-AE8D-0494D2E3F67A}">
      <dgm:prSet/>
      <dgm:spPr/>
      <dgm:t>
        <a:bodyPr/>
        <a:lstStyle/>
        <a:p>
          <a:endParaRPr lang="en-US"/>
        </a:p>
      </dgm:t>
    </dgm:pt>
    <dgm:pt modelId="{B6525E1B-CBCD-4D8F-A902-49ED500CF6C8}" type="sibTrans" cxnId="{678AC83C-8CA2-496A-AE8D-0494D2E3F67A}">
      <dgm:prSet/>
      <dgm:spPr/>
      <dgm:t>
        <a:bodyPr/>
        <a:lstStyle/>
        <a:p>
          <a:endParaRPr lang="en-US"/>
        </a:p>
      </dgm:t>
    </dgm:pt>
    <dgm:pt modelId="{0C45C7CB-D88E-44C2-832B-D4C11DCFC816}">
      <dgm:prSet/>
      <dgm:spPr/>
      <dgm:t>
        <a:bodyPr/>
        <a:lstStyle/>
        <a:p>
          <a:r>
            <a:rPr lang="en-US"/>
            <a:t>Lunch break</a:t>
          </a:r>
        </a:p>
      </dgm:t>
    </dgm:pt>
    <dgm:pt modelId="{102C11CD-E0C0-4CD6-83D6-02CE2DA0F10E}" type="parTrans" cxnId="{EA9CA228-8179-4BAC-8AA4-7C5325D17062}">
      <dgm:prSet/>
      <dgm:spPr/>
      <dgm:t>
        <a:bodyPr/>
        <a:lstStyle/>
        <a:p>
          <a:endParaRPr lang="en-US"/>
        </a:p>
      </dgm:t>
    </dgm:pt>
    <dgm:pt modelId="{3B14A5A0-4FDB-4243-B588-599EF7DA575D}" type="sibTrans" cxnId="{EA9CA228-8179-4BAC-8AA4-7C5325D17062}">
      <dgm:prSet/>
      <dgm:spPr/>
      <dgm:t>
        <a:bodyPr/>
        <a:lstStyle/>
        <a:p>
          <a:endParaRPr lang="en-US"/>
        </a:p>
      </dgm:t>
    </dgm:pt>
    <dgm:pt modelId="{8EF7EAAB-C81C-4CF5-9AE6-1D68A5CDCCDA}">
      <dgm:prSet/>
      <dgm:spPr/>
      <dgm:t>
        <a:bodyPr/>
        <a:lstStyle/>
        <a:p>
          <a:pPr>
            <a:defRPr b="1"/>
          </a:pPr>
          <a:r>
            <a:rPr lang="en-US"/>
            <a:t>13:30 – 15:00</a:t>
          </a:r>
        </a:p>
      </dgm:t>
    </dgm:pt>
    <dgm:pt modelId="{1B00E632-6B67-4215-9369-415852D72729}" type="parTrans" cxnId="{0BA1EF40-AEBB-402D-B847-C2DB94ACAF30}">
      <dgm:prSet/>
      <dgm:spPr/>
      <dgm:t>
        <a:bodyPr/>
        <a:lstStyle/>
        <a:p>
          <a:endParaRPr lang="en-US"/>
        </a:p>
      </dgm:t>
    </dgm:pt>
    <dgm:pt modelId="{24555A22-1A52-4D2F-8722-5BF711876432}" type="sibTrans" cxnId="{0BA1EF40-AEBB-402D-B847-C2DB94ACAF30}">
      <dgm:prSet/>
      <dgm:spPr/>
      <dgm:t>
        <a:bodyPr/>
        <a:lstStyle/>
        <a:p>
          <a:endParaRPr lang="en-US"/>
        </a:p>
      </dgm:t>
    </dgm:pt>
    <dgm:pt modelId="{8E1CE21D-2541-4063-8530-04506542ECAC}">
      <dgm:prSet/>
      <dgm:spPr/>
      <dgm:t>
        <a:bodyPr/>
        <a:lstStyle/>
        <a:p>
          <a:r>
            <a:rPr lang="en-US"/>
            <a:t>Lambda (and possibly API gateway)</a:t>
          </a:r>
        </a:p>
      </dgm:t>
    </dgm:pt>
    <dgm:pt modelId="{6498FE70-1C23-45CA-B01D-EE0F0D4FCABA}" type="parTrans" cxnId="{5F4BB421-FF75-44CB-B5B2-8E97E3E67FF9}">
      <dgm:prSet/>
      <dgm:spPr/>
      <dgm:t>
        <a:bodyPr/>
        <a:lstStyle/>
        <a:p>
          <a:endParaRPr lang="en-US"/>
        </a:p>
      </dgm:t>
    </dgm:pt>
    <dgm:pt modelId="{512AEAF7-E06C-4913-BE4F-EDB176C4E723}" type="sibTrans" cxnId="{5F4BB421-FF75-44CB-B5B2-8E97E3E67FF9}">
      <dgm:prSet/>
      <dgm:spPr/>
      <dgm:t>
        <a:bodyPr/>
        <a:lstStyle/>
        <a:p>
          <a:endParaRPr lang="en-US"/>
        </a:p>
      </dgm:t>
    </dgm:pt>
    <dgm:pt modelId="{29982918-FC04-49A6-B8F6-D6A67B05D36B}">
      <dgm:prSet/>
      <dgm:spPr/>
      <dgm:t>
        <a:bodyPr/>
        <a:lstStyle/>
        <a:p>
          <a:pPr>
            <a:defRPr b="1"/>
          </a:pPr>
          <a:r>
            <a:rPr lang="en-US"/>
            <a:t>15:15 – 15:30</a:t>
          </a:r>
        </a:p>
      </dgm:t>
    </dgm:pt>
    <dgm:pt modelId="{B5F49FDB-7EDB-45BD-BA31-ED8DADCE117E}" type="parTrans" cxnId="{FC708A98-2A1E-4E6A-9FE8-43BE20C334FF}">
      <dgm:prSet/>
      <dgm:spPr/>
      <dgm:t>
        <a:bodyPr/>
        <a:lstStyle/>
        <a:p>
          <a:endParaRPr lang="en-US"/>
        </a:p>
      </dgm:t>
    </dgm:pt>
    <dgm:pt modelId="{40392CFA-CCEA-42D3-ACFD-16F36E44345B}" type="sibTrans" cxnId="{FC708A98-2A1E-4E6A-9FE8-43BE20C334FF}">
      <dgm:prSet/>
      <dgm:spPr/>
      <dgm:t>
        <a:bodyPr/>
        <a:lstStyle/>
        <a:p>
          <a:endParaRPr lang="en-US"/>
        </a:p>
      </dgm:t>
    </dgm:pt>
    <dgm:pt modelId="{BC058144-3094-4FC1-ACCE-165A46E3D4CB}">
      <dgm:prSet/>
      <dgm:spPr/>
      <dgm:t>
        <a:bodyPr/>
        <a:lstStyle/>
        <a:p>
          <a:r>
            <a:rPr lang="en-US"/>
            <a:t>Overview of further AWS services</a:t>
          </a:r>
        </a:p>
      </dgm:t>
    </dgm:pt>
    <dgm:pt modelId="{6E6694F4-02AD-44DC-B239-84AFCAE602CD}" type="parTrans" cxnId="{E0D15FC6-51E3-4686-A73F-1F5D284EDBE0}">
      <dgm:prSet/>
      <dgm:spPr/>
      <dgm:t>
        <a:bodyPr/>
        <a:lstStyle/>
        <a:p>
          <a:endParaRPr lang="en-US"/>
        </a:p>
      </dgm:t>
    </dgm:pt>
    <dgm:pt modelId="{354BE681-B648-46E4-BC24-3600952088A4}" type="sibTrans" cxnId="{E0D15FC6-51E3-4686-A73F-1F5D284EDBE0}">
      <dgm:prSet/>
      <dgm:spPr/>
      <dgm:t>
        <a:bodyPr/>
        <a:lstStyle/>
        <a:p>
          <a:endParaRPr lang="en-US"/>
        </a:p>
      </dgm:t>
    </dgm:pt>
    <dgm:pt modelId="{B6102D53-0B77-4A6E-BC11-60C8ACB92086}">
      <dgm:prSet/>
      <dgm:spPr/>
      <dgm:t>
        <a:bodyPr/>
        <a:lstStyle/>
        <a:p>
          <a:pPr>
            <a:defRPr b="1"/>
          </a:pPr>
          <a:r>
            <a:rPr lang="en-US"/>
            <a:t>15:30 – 16:00</a:t>
          </a:r>
        </a:p>
      </dgm:t>
    </dgm:pt>
    <dgm:pt modelId="{567CDF19-B262-4ECC-AECA-8A3DDD8B8C3F}" type="parTrans" cxnId="{A037B7C1-7C82-44C8-A20F-29B2DF718535}">
      <dgm:prSet/>
      <dgm:spPr/>
      <dgm:t>
        <a:bodyPr/>
        <a:lstStyle/>
        <a:p>
          <a:endParaRPr lang="en-US"/>
        </a:p>
      </dgm:t>
    </dgm:pt>
    <dgm:pt modelId="{663D0A69-415E-4A65-BAA9-E2CBA205DB25}" type="sibTrans" cxnId="{A037B7C1-7C82-44C8-A20F-29B2DF718535}">
      <dgm:prSet/>
      <dgm:spPr/>
      <dgm:t>
        <a:bodyPr/>
        <a:lstStyle/>
        <a:p>
          <a:endParaRPr lang="en-US"/>
        </a:p>
      </dgm:t>
    </dgm:pt>
    <dgm:pt modelId="{1F387FAB-1B24-4835-A9C3-3D7E52565232}">
      <dgm:prSet/>
      <dgm:spPr/>
      <dgm:t>
        <a:bodyPr/>
        <a:lstStyle/>
        <a:p>
          <a:r>
            <a:rPr lang="en-US" dirty="0"/>
            <a:t>Summary and feedback</a:t>
          </a:r>
        </a:p>
      </dgm:t>
    </dgm:pt>
    <dgm:pt modelId="{93ACC080-EFBB-4BAB-8A41-1FA75D726ADF}" type="parTrans" cxnId="{7B4D767B-17ED-45C7-B5BB-8D192B2FE4E4}">
      <dgm:prSet/>
      <dgm:spPr/>
      <dgm:t>
        <a:bodyPr/>
        <a:lstStyle/>
        <a:p>
          <a:endParaRPr lang="en-US"/>
        </a:p>
      </dgm:t>
    </dgm:pt>
    <dgm:pt modelId="{3125D7F7-A0FF-4BA9-9DB2-26AEE49CEA5E}" type="sibTrans" cxnId="{7B4D767B-17ED-45C7-B5BB-8D192B2FE4E4}">
      <dgm:prSet/>
      <dgm:spPr/>
      <dgm:t>
        <a:bodyPr/>
        <a:lstStyle/>
        <a:p>
          <a:endParaRPr lang="en-US"/>
        </a:p>
      </dgm:t>
    </dgm:pt>
    <dgm:pt modelId="{FF5D72E9-4206-47F8-BFD5-59FF312368A5}" type="pres">
      <dgm:prSet presAssocID="{0F6E8184-6640-4F09-A527-8D3861FEAF58}" presName="root" presStyleCnt="0">
        <dgm:presLayoutVars>
          <dgm:chMax/>
          <dgm:chPref/>
          <dgm:animLvl val="lvl"/>
        </dgm:presLayoutVars>
      </dgm:prSet>
      <dgm:spPr/>
    </dgm:pt>
    <dgm:pt modelId="{D166CB41-7290-41DA-AA8D-D131503C488D}" type="pres">
      <dgm:prSet presAssocID="{0F6E8184-6640-4F09-A527-8D3861FEAF58}" presName="divider" presStyleLbl="fgAcc1" presStyleIdx="0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B89048E-4004-41BA-82E1-C11C18601907}" type="pres">
      <dgm:prSet presAssocID="{0F6E8184-6640-4F09-A527-8D3861FEAF58}" presName="nodes" presStyleCnt="0">
        <dgm:presLayoutVars>
          <dgm:chMax/>
          <dgm:chPref/>
          <dgm:animLvl val="lvl"/>
        </dgm:presLayoutVars>
      </dgm:prSet>
      <dgm:spPr/>
    </dgm:pt>
    <dgm:pt modelId="{670A6668-A681-41C9-A44B-045D5D2A6F31}" type="pres">
      <dgm:prSet presAssocID="{D667BA63-B818-4CAA-A737-FBEB4421EC00}" presName="composite" presStyleCnt="0"/>
      <dgm:spPr/>
    </dgm:pt>
    <dgm:pt modelId="{0B2821A8-A610-47B8-AB80-534B1D86B5A5}" type="pres">
      <dgm:prSet presAssocID="{D667BA63-B818-4CAA-A737-FBEB4421EC00}" presName="ConnectorPoint" presStyleLbl="lnNode1" presStyleIdx="0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428031C2-DCD5-427C-AFC7-6114F2C1AEDD}" type="pres">
      <dgm:prSet presAssocID="{D667BA63-B818-4CAA-A737-FBEB4421EC00}" presName="DropPinPlaceHolder" presStyleCnt="0"/>
      <dgm:spPr/>
    </dgm:pt>
    <dgm:pt modelId="{6902DED8-C73A-4D34-AB67-9C847EA1A550}" type="pres">
      <dgm:prSet presAssocID="{D667BA63-B818-4CAA-A737-FBEB4421EC00}" presName="DropPin" presStyleLbl="alignNode1" presStyleIdx="0" presStyleCnt="8"/>
      <dgm:spPr/>
    </dgm:pt>
    <dgm:pt modelId="{15A6C02A-D850-4C7F-952A-EEAEC0453674}" type="pres">
      <dgm:prSet presAssocID="{D667BA63-B818-4CAA-A737-FBEB4421EC00}" presName="Ellipse" presStyleLbl="fgAcc1" presStyleIdx="1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712F26D3-EBD6-46BF-BE48-FFB520EDFA08}" type="pres">
      <dgm:prSet presAssocID="{D667BA63-B818-4CAA-A737-FBEB4421EC00}" presName="L2TextContainer" presStyleLbl="revTx" presStyleIdx="0" presStyleCnt="16">
        <dgm:presLayoutVars>
          <dgm:bulletEnabled val="1"/>
        </dgm:presLayoutVars>
      </dgm:prSet>
      <dgm:spPr/>
    </dgm:pt>
    <dgm:pt modelId="{809182C7-5D29-4345-820D-5D8CC5985691}" type="pres">
      <dgm:prSet presAssocID="{D667BA63-B818-4CAA-A737-FBEB4421EC00}" presName="L1TextContainer" presStyleLbl="revTx" presStyleIdx="1" presStyleCnt="16">
        <dgm:presLayoutVars>
          <dgm:chMax val="1"/>
          <dgm:chPref val="1"/>
          <dgm:bulletEnabled val="1"/>
        </dgm:presLayoutVars>
      </dgm:prSet>
      <dgm:spPr/>
    </dgm:pt>
    <dgm:pt modelId="{1701025A-0A6E-407D-B675-E17549362622}" type="pres">
      <dgm:prSet presAssocID="{D667BA63-B818-4CAA-A737-FBEB4421EC00}" presName="ConnectLine" presStyleLbl="sibTrans1D1" presStyleIdx="0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48665EF-90EE-46B4-8617-A6B19B342311}" type="pres">
      <dgm:prSet presAssocID="{D667BA63-B818-4CAA-A737-FBEB4421EC00}" presName="EmptyPlaceHolder" presStyleCnt="0"/>
      <dgm:spPr/>
    </dgm:pt>
    <dgm:pt modelId="{77DA094C-732A-4F46-8EC0-E380460ED77D}" type="pres">
      <dgm:prSet presAssocID="{0C387DFB-2BCA-4760-8060-F939FF8F231D}" presName="spaceBetweenRectangles" presStyleCnt="0"/>
      <dgm:spPr/>
    </dgm:pt>
    <dgm:pt modelId="{6B73880B-9A8E-4057-A27A-87AD81884ECA}" type="pres">
      <dgm:prSet presAssocID="{99964707-1C2B-46E7-BD29-3F9C4DCD0F40}" presName="composite" presStyleCnt="0"/>
      <dgm:spPr/>
    </dgm:pt>
    <dgm:pt modelId="{C230DC0B-F43F-4609-B186-9447ECB497D2}" type="pres">
      <dgm:prSet presAssocID="{99964707-1C2B-46E7-BD29-3F9C4DCD0F40}" presName="ConnectorPoint" presStyleLbl="lnNode1" presStyleIdx="1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D847D88-2F91-4724-B950-440BD5A85FF2}" type="pres">
      <dgm:prSet presAssocID="{99964707-1C2B-46E7-BD29-3F9C4DCD0F40}" presName="DropPinPlaceHolder" presStyleCnt="0"/>
      <dgm:spPr/>
    </dgm:pt>
    <dgm:pt modelId="{C14D7BCD-7938-47CD-B81E-C577CC317BB7}" type="pres">
      <dgm:prSet presAssocID="{99964707-1C2B-46E7-BD29-3F9C4DCD0F40}" presName="DropPin" presStyleLbl="alignNode1" presStyleIdx="1" presStyleCnt="8"/>
      <dgm:spPr/>
    </dgm:pt>
    <dgm:pt modelId="{EC594FF8-4D43-4E89-8872-E1DE2E73FC2E}" type="pres">
      <dgm:prSet presAssocID="{99964707-1C2B-46E7-BD29-3F9C4DCD0F40}" presName="Ellipse" presStyleLbl="fgAcc1" presStyleIdx="2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AC1F416-285E-4465-81C2-E6DA616BEC2D}" type="pres">
      <dgm:prSet presAssocID="{99964707-1C2B-46E7-BD29-3F9C4DCD0F40}" presName="L2TextContainer" presStyleLbl="revTx" presStyleIdx="2" presStyleCnt="16">
        <dgm:presLayoutVars>
          <dgm:bulletEnabled val="1"/>
        </dgm:presLayoutVars>
      </dgm:prSet>
      <dgm:spPr/>
    </dgm:pt>
    <dgm:pt modelId="{DC47BB45-3933-4FB9-9769-530D59DDFB1B}" type="pres">
      <dgm:prSet presAssocID="{99964707-1C2B-46E7-BD29-3F9C4DCD0F40}" presName="L1TextContainer" presStyleLbl="revTx" presStyleIdx="3" presStyleCnt="16">
        <dgm:presLayoutVars>
          <dgm:chMax val="1"/>
          <dgm:chPref val="1"/>
          <dgm:bulletEnabled val="1"/>
        </dgm:presLayoutVars>
      </dgm:prSet>
      <dgm:spPr/>
    </dgm:pt>
    <dgm:pt modelId="{3B20E28C-74E1-482A-BB3C-7538FF984CFC}" type="pres">
      <dgm:prSet presAssocID="{99964707-1C2B-46E7-BD29-3F9C4DCD0F40}" presName="ConnectLine" presStyleLbl="sibTrans1D1" presStyleIdx="1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0528DCC-D490-44BD-BCAC-257273D06595}" type="pres">
      <dgm:prSet presAssocID="{99964707-1C2B-46E7-BD29-3F9C4DCD0F40}" presName="EmptyPlaceHolder" presStyleCnt="0"/>
      <dgm:spPr/>
    </dgm:pt>
    <dgm:pt modelId="{2CCB0579-831F-489C-8460-E2696D56D2BD}" type="pres">
      <dgm:prSet presAssocID="{96B47E33-D9BD-45E9-B9B8-4FEE05B2C037}" presName="spaceBetweenRectangles" presStyleCnt="0"/>
      <dgm:spPr/>
    </dgm:pt>
    <dgm:pt modelId="{D9988B74-5A49-4BB6-8447-3AD1EDC9E780}" type="pres">
      <dgm:prSet presAssocID="{4CA74B4D-450A-4B1A-AF65-713E4E88A15A}" presName="composite" presStyleCnt="0"/>
      <dgm:spPr/>
    </dgm:pt>
    <dgm:pt modelId="{3F575196-1C2E-4D18-85FB-0257082CDD81}" type="pres">
      <dgm:prSet presAssocID="{4CA74B4D-450A-4B1A-AF65-713E4E88A15A}" presName="ConnectorPoint" presStyleLbl="lnNode1" presStyleIdx="2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FD12D45F-0FDD-486B-8508-6691FD5B35A9}" type="pres">
      <dgm:prSet presAssocID="{4CA74B4D-450A-4B1A-AF65-713E4E88A15A}" presName="DropPinPlaceHolder" presStyleCnt="0"/>
      <dgm:spPr/>
    </dgm:pt>
    <dgm:pt modelId="{64C4EA93-912B-4541-BDDF-FC1C5210286D}" type="pres">
      <dgm:prSet presAssocID="{4CA74B4D-450A-4B1A-AF65-713E4E88A15A}" presName="DropPin" presStyleLbl="alignNode1" presStyleIdx="2" presStyleCnt="8"/>
      <dgm:spPr/>
    </dgm:pt>
    <dgm:pt modelId="{44049E3C-BECB-4DB2-B28A-8642C51BC929}" type="pres">
      <dgm:prSet presAssocID="{4CA74B4D-450A-4B1A-AF65-713E4E88A15A}" presName="Ellipse" presStyleLbl="fgAcc1" presStyleIdx="3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9C9B1779-4CBC-4F61-B0C8-219F9C79FB14}" type="pres">
      <dgm:prSet presAssocID="{4CA74B4D-450A-4B1A-AF65-713E4E88A15A}" presName="L2TextContainer" presStyleLbl="revTx" presStyleIdx="4" presStyleCnt="16">
        <dgm:presLayoutVars>
          <dgm:bulletEnabled val="1"/>
        </dgm:presLayoutVars>
      </dgm:prSet>
      <dgm:spPr/>
    </dgm:pt>
    <dgm:pt modelId="{56317820-7051-4C8F-B774-D5D1CDE573BE}" type="pres">
      <dgm:prSet presAssocID="{4CA74B4D-450A-4B1A-AF65-713E4E88A15A}" presName="L1TextContainer" presStyleLbl="revTx" presStyleIdx="5" presStyleCnt="16">
        <dgm:presLayoutVars>
          <dgm:chMax val="1"/>
          <dgm:chPref val="1"/>
          <dgm:bulletEnabled val="1"/>
        </dgm:presLayoutVars>
      </dgm:prSet>
      <dgm:spPr/>
    </dgm:pt>
    <dgm:pt modelId="{57FA1EC9-B160-4FCF-96F9-BA4DBB3FD452}" type="pres">
      <dgm:prSet presAssocID="{4CA74B4D-450A-4B1A-AF65-713E4E88A15A}" presName="ConnectLine" presStyleLbl="sibTrans1D1" presStyleIdx="2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997B513-EB53-4F3F-A2E8-FB6EB50CD6B7}" type="pres">
      <dgm:prSet presAssocID="{4CA74B4D-450A-4B1A-AF65-713E4E88A15A}" presName="EmptyPlaceHolder" presStyleCnt="0"/>
      <dgm:spPr/>
    </dgm:pt>
    <dgm:pt modelId="{D57DB9B6-931F-439D-87B6-078C826C3F78}" type="pres">
      <dgm:prSet presAssocID="{D44480AC-D7F1-4B5C-B22D-7F844B1DBE2E}" presName="spaceBetweenRectangles" presStyleCnt="0"/>
      <dgm:spPr/>
    </dgm:pt>
    <dgm:pt modelId="{EFAE615A-07C9-415E-8E2E-89F8EA07DF71}" type="pres">
      <dgm:prSet presAssocID="{6CE3F52C-BE2C-4084-9060-714D02F35C17}" presName="composite" presStyleCnt="0"/>
      <dgm:spPr/>
    </dgm:pt>
    <dgm:pt modelId="{56EABFB8-7E01-40DB-87A2-15CEDE9FEAC3}" type="pres">
      <dgm:prSet presAssocID="{6CE3F52C-BE2C-4084-9060-714D02F35C17}" presName="ConnectorPoint" presStyleLbl="lnNode1" presStyleIdx="3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49E7790-DB76-48E7-A7C1-CB722FCD9EA7}" type="pres">
      <dgm:prSet presAssocID="{6CE3F52C-BE2C-4084-9060-714D02F35C17}" presName="DropPinPlaceHolder" presStyleCnt="0"/>
      <dgm:spPr/>
    </dgm:pt>
    <dgm:pt modelId="{09FAACE4-6010-4794-BF0E-266FFE5B7F7F}" type="pres">
      <dgm:prSet presAssocID="{6CE3F52C-BE2C-4084-9060-714D02F35C17}" presName="DropPin" presStyleLbl="alignNode1" presStyleIdx="3" presStyleCnt="8"/>
      <dgm:spPr/>
    </dgm:pt>
    <dgm:pt modelId="{F96D1042-3AFA-422E-B6BA-D48BAE0C9A81}" type="pres">
      <dgm:prSet presAssocID="{6CE3F52C-BE2C-4084-9060-714D02F35C17}" presName="Ellipse" presStyleLbl="fgAcc1" presStyleIdx="4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BDAA938F-0A32-487A-990D-5F62262C1CA2}" type="pres">
      <dgm:prSet presAssocID="{6CE3F52C-BE2C-4084-9060-714D02F35C17}" presName="L2TextContainer" presStyleLbl="revTx" presStyleIdx="6" presStyleCnt="16">
        <dgm:presLayoutVars>
          <dgm:bulletEnabled val="1"/>
        </dgm:presLayoutVars>
      </dgm:prSet>
      <dgm:spPr/>
    </dgm:pt>
    <dgm:pt modelId="{4C31140A-22F1-4344-8587-C4C16122DC8E}" type="pres">
      <dgm:prSet presAssocID="{6CE3F52C-BE2C-4084-9060-714D02F35C17}" presName="L1TextContainer" presStyleLbl="revTx" presStyleIdx="7" presStyleCnt="16">
        <dgm:presLayoutVars>
          <dgm:chMax val="1"/>
          <dgm:chPref val="1"/>
          <dgm:bulletEnabled val="1"/>
        </dgm:presLayoutVars>
      </dgm:prSet>
      <dgm:spPr/>
    </dgm:pt>
    <dgm:pt modelId="{22E89C9D-CC6D-4479-9C21-916A59419D4A}" type="pres">
      <dgm:prSet presAssocID="{6CE3F52C-BE2C-4084-9060-714D02F35C17}" presName="ConnectLine" presStyleLbl="sibTrans1D1" presStyleIdx="3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05C823F-50B7-44F8-ACF8-2A1B498214ED}" type="pres">
      <dgm:prSet presAssocID="{6CE3F52C-BE2C-4084-9060-714D02F35C17}" presName="EmptyPlaceHolder" presStyleCnt="0"/>
      <dgm:spPr/>
    </dgm:pt>
    <dgm:pt modelId="{2347B370-4B37-41E4-8AFD-329F87D6E397}" type="pres">
      <dgm:prSet presAssocID="{3245B5C7-74FE-408D-971E-C8C331F96863}" presName="spaceBetweenRectangles" presStyleCnt="0"/>
      <dgm:spPr/>
    </dgm:pt>
    <dgm:pt modelId="{7D3B6AF8-B52C-42D7-8AA8-13F638DEE77B}" type="pres">
      <dgm:prSet presAssocID="{63166B40-F97B-4A3E-9550-0C4884A88B7C}" presName="composite" presStyleCnt="0"/>
      <dgm:spPr/>
    </dgm:pt>
    <dgm:pt modelId="{19A820BD-17C7-43DC-8F1D-88A540590293}" type="pres">
      <dgm:prSet presAssocID="{63166B40-F97B-4A3E-9550-0C4884A88B7C}" presName="ConnectorPoint" presStyleLbl="lnNode1" presStyleIdx="4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67748B3-F4F2-42E7-B067-207ED4BD8F02}" type="pres">
      <dgm:prSet presAssocID="{63166B40-F97B-4A3E-9550-0C4884A88B7C}" presName="DropPinPlaceHolder" presStyleCnt="0"/>
      <dgm:spPr/>
    </dgm:pt>
    <dgm:pt modelId="{3B7ED767-BE8C-47CE-99E5-DA5DA5380EC7}" type="pres">
      <dgm:prSet presAssocID="{63166B40-F97B-4A3E-9550-0C4884A88B7C}" presName="DropPin" presStyleLbl="alignNode1" presStyleIdx="4" presStyleCnt="8"/>
      <dgm:spPr/>
    </dgm:pt>
    <dgm:pt modelId="{22010698-79D3-4BB6-B573-834EA4A816AD}" type="pres">
      <dgm:prSet presAssocID="{63166B40-F97B-4A3E-9550-0C4884A88B7C}" presName="Ellipse" presStyleLbl="fgAcc1" presStyleIdx="5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ED2D503C-6CAD-494E-9C83-AD5856E177A6}" type="pres">
      <dgm:prSet presAssocID="{63166B40-F97B-4A3E-9550-0C4884A88B7C}" presName="L2TextContainer" presStyleLbl="revTx" presStyleIdx="8" presStyleCnt="16">
        <dgm:presLayoutVars>
          <dgm:bulletEnabled val="1"/>
        </dgm:presLayoutVars>
      </dgm:prSet>
      <dgm:spPr/>
    </dgm:pt>
    <dgm:pt modelId="{7A30048A-E77A-486B-BDBF-F186824D6F34}" type="pres">
      <dgm:prSet presAssocID="{63166B40-F97B-4A3E-9550-0C4884A88B7C}" presName="L1TextContainer" presStyleLbl="revTx" presStyleIdx="9" presStyleCnt="16">
        <dgm:presLayoutVars>
          <dgm:chMax val="1"/>
          <dgm:chPref val="1"/>
          <dgm:bulletEnabled val="1"/>
        </dgm:presLayoutVars>
      </dgm:prSet>
      <dgm:spPr/>
    </dgm:pt>
    <dgm:pt modelId="{11BC5BF5-869A-4FFD-84E0-391FF203AEB4}" type="pres">
      <dgm:prSet presAssocID="{63166B40-F97B-4A3E-9550-0C4884A88B7C}" presName="ConnectLine" presStyleLbl="sibTrans1D1" presStyleIdx="4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8848F47-BB13-4AF3-86FA-1A4FE77BCA33}" type="pres">
      <dgm:prSet presAssocID="{63166B40-F97B-4A3E-9550-0C4884A88B7C}" presName="EmptyPlaceHolder" presStyleCnt="0"/>
      <dgm:spPr/>
    </dgm:pt>
    <dgm:pt modelId="{CCD14902-AB88-476A-88EA-56E966B2D3B0}" type="pres">
      <dgm:prSet presAssocID="{B6525E1B-CBCD-4D8F-A902-49ED500CF6C8}" presName="spaceBetweenRectangles" presStyleCnt="0"/>
      <dgm:spPr/>
    </dgm:pt>
    <dgm:pt modelId="{FFE6CCCC-477E-4996-8455-C2AE57D31E80}" type="pres">
      <dgm:prSet presAssocID="{8EF7EAAB-C81C-4CF5-9AE6-1D68A5CDCCDA}" presName="composite" presStyleCnt="0"/>
      <dgm:spPr/>
    </dgm:pt>
    <dgm:pt modelId="{2142D96E-D8BC-4017-AEDB-336A1B0BF928}" type="pres">
      <dgm:prSet presAssocID="{8EF7EAAB-C81C-4CF5-9AE6-1D68A5CDCCDA}" presName="ConnectorPoint" presStyleLbl="lnNode1" presStyleIdx="5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C5B83CB3-E2A0-4F4F-99EF-17F12D009E7D}" type="pres">
      <dgm:prSet presAssocID="{8EF7EAAB-C81C-4CF5-9AE6-1D68A5CDCCDA}" presName="DropPinPlaceHolder" presStyleCnt="0"/>
      <dgm:spPr/>
    </dgm:pt>
    <dgm:pt modelId="{4C813C25-100F-4D2E-8A5B-921773842EAD}" type="pres">
      <dgm:prSet presAssocID="{8EF7EAAB-C81C-4CF5-9AE6-1D68A5CDCCDA}" presName="DropPin" presStyleLbl="alignNode1" presStyleIdx="5" presStyleCnt="8"/>
      <dgm:spPr/>
    </dgm:pt>
    <dgm:pt modelId="{9C805A14-29E3-4C5B-B644-2A367A70C92B}" type="pres">
      <dgm:prSet presAssocID="{8EF7EAAB-C81C-4CF5-9AE6-1D68A5CDCCDA}" presName="Ellipse" presStyleLbl="fgAcc1" presStyleIdx="6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AC6D2B1A-A38D-4654-B41E-651010449319}" type="pres">
      <dgm:prSet presAssocID="{8EF7EAAB-C81C-4CF5-9AE6-1D68A5CDCCDA}" presName="L2TextContainer" presStyleLbl="revTx" presStyleIdx="10" presStyleCnt="16">
        <dgm:presLayoutVars>
          <dgm:bulletEnabled val="1"/>
        </dgm:presLayoutVars>
      </dgm:prSet>
      <dgm:spPr/>
    </dgm:pt>
    <dgm:pt modelId="{3FECDF7A-6F6D-4F5C-A376-6813A42E5DCD}" type="pres">
      <dgm:prSet presAssocID="{8EF7EAAB-C81C-4CF5-9AE6-1D68A5CDCCDA}" presName="L1TextContainer" presStyleLbl="revTx" presStyleIdx="11" presStyleCnt="16">
        <dgm:presLayoutVars>
          <dgm:chMax val="1"/>
          <dgm:chPref val="1"/>
          <dgm:bulletEnabled val="1"/>
        </dgm:presLayoutVars>
      </dgm:prSet>
      <dgm:spPr/>
    </dgm:pt>
    <dgm:pt modelId="{13FF83DE-76E7-488C-ACBD-6AA20FB394EF}" type="pres">
      <dgm:prSet presAssocID="{8EF7EAAB-C81C-4CF5-9AE6-1D68A5CDCCDA}" presName="ConnectLine" presStyleLbl="sibTrans1D1" presStyleIdx="5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B21A340-0088-4269-BC50-D85F1253B0C4}" type="pres">
      <dgm:prSet presAssocID="{8EF7EAAB-C81C-4CF5-9AE6-1D68A5CDCCDA}" presName="EmptyPlaceHolder" presStyleCnt="0"/>
      <dgm:spPr/>
    </dgm:pt>
    <dgm:pt modelId="{40C457B0-E81B-4E88-B198-8B3B8F400C5E}" type="pres">
      <dgm:prSet presAssocID="{24555A22-1A52-4D2F-8722-5BF711876432}" presName="spaceBetweenRectangles" presStyleCnt="0"/>
      <dgm:spPr/>
    </dgm:pt>
    <dgm:pt modelId="{248A4995-6EAE-4314-AE00-05C66BFF5157}" type="pres">
      <dgm:prSet presAssocID="{29982918-FC04-49A6-B8F6-D6A67B05D36B}" presName="composite" presStyleCnt="0"/>
      <dgm:spPr/>
    </dgm:pt>
    <dgm:pt modelId="{B3C903AD-B91A-4FA1-BFCD-998DBD4B5867}" type="pres">
      <dgm:prSet presAssocID="{29982918-FC04-49A6-B8F6-D6A67B05D36B}" presName="ConnectorPoint" presStyleLbl="lnNode1" presStyleIdx="6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A1D1D91C-A4A7-4B4C-B207-AFFA4B7038DB}" type="pres">
      <dgm:prSet presAssocID="{29982918-FC04-49A6-B8F6-D6A67B05D36B}" presName="DropPinPlaceHolder" presStyleCnt="0"/>
      <dgm:spPr/>
    </dgm:pt>
    <dgm:pt modelId="{EFB80C96-812E-40FD-B857-907A151A3F25}" type="pres">
      <dgm:prSet presAssocID="{29982918-FC04-49A6-B8F6-D6A67B05D36B}" presName="DropPin" presStyleLbl="alignNode1" presStyleIdx="6" presStyleCnt="8"/>
      <dgm:spPr/>
    </dgm:pt>
    <dgm:pt modelId="{9141D117-12E1-4F14-8DC0-7CCBF20452F5}" type="pres">
      <dgm:prSet presAssocID="{29982918-FC04-49A6-B8F6-D6A67B05D36B}" presName="Ellipse" presStyleLbl="fgAcc1" presStyleIdx="7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0393B18E-6175-4317-85D8-AB17270A56B0}" type="pres">
      <dgm:prSet presAssocID="{29982918-FC04-49A6-B8F6-D6A67B05D36B}" presName="L2TextContainer" presStyleLbl="revTx" presStyleIdx="12" presStyleCnt="16">
        <dgm:presLayoutVars>
          <dgm:bulletEnabled val="1"/>
        </dgm:presLayoutVars>
      </dgm:prSet>
      <dgm:spPr/>
    </dgm:pt>
    <dgm:pt modelId="{8CA6550F-66C7-4298-A593-83DA97436E96}" type="pres">
      <dgm:prSet presAssocID="{29982918-FC04-49A6-B8F6-D6A67B05D36B}" presName="L1TextContainer" presStyleLbl="revTx" presStyleIdx="13" presStyleCnt="16">
        <dgm:presLayoutVars>
          <dgm:chMax val="1"/>
          <dgm:chPref val="1"/>
          <dgm:bulletEnabled val="1"/>
        </dgm:presLayoutVars>
      </dgm:prSet>
      <dgm:spPr/>
    </dgm:pt>
    <dgm:pt modelId="{A3B3FACD-0F5C-4C70-B8B3-9765C3BF1891}" type="pres">
      <dgm:prSet presAssocID="{29982918-FC04-49A6-B8F6-D6A67B05D36B}" presName="ConnectLine" presStyleLbl="sibTrans1D1" presStyleIdx="6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0D85CF2F-40E1-462E-A0F1-3FCEDCC1D341}" type="pres">
      <dgm:prSet presAssocID="{29982918-FC04-49A6-B8F6-D6A67B05D36B}" presName="EmptyPlaceHolder" presStyleCnt="0"/>
      <dgm:spPr/>
    </dgm:pt>
    <dgm:pt modelId="{47ED9FE6-69EC-4591-97D4-A012D83F336B}" type="pres">
      <dgm:prSet presAssocID="{40392CFA-CCEA-42D3-ACFD-16F36E44345B}" presName="spaceBetweenRectangles" presStyleCnt="0"/>
      <dgm:spPr/>
    </dgm:pt>
    <dgm:pt modelId="{87CFB10B-39DD-4BFC-BDD1-64623C4235CE}" type="pres">
      <dgm:prSet presAssocID="{B6102D53-0B77-4A6E-BC11-60C8ACB92086}" presName="composite" presStyleCnt="0"/>
      <dgm:spPr/>
    </dgm:pt>
    <dgm:pt modelId="{D57118BA-C8CE-4E1E-9BD2-A602B5C2A75E}" type="pres">
      <dgm:prSet presAssocID="{B6102D53-0B77-4A6E-BC11-60C8ACB92086}" presName="ConnectorPoint" presStyleLbl="lnNode1" presStyleIdx="7" presStyleCnt="8"/>
      <dgm:spPr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</dgm:pt>
    <dgm:pt modelId="{99DE5837-CA3E-4A33-9BCD-7C8844E2FBAB}" type="pres">
      <dgm:prSet presAssocID="{B6102D53-0B77-4A6E-BC11-60C8ACB92086}" presName="DropPinPlaceHolder" presStyleCnt="0"/>
      <dgm:spPr/>
    </dgm:pt>
    <dgm:pt modelId="{3B3DC42F-8EE3-48F8-A1BA-B1253894B53E}" type="pres">
      <dgm:prSet presAssocID="{B6102D53-0B77-4A6E-BC11-60C8ACB92086}" presName="DropPin" presStyleLbl="alignNode1" presStyleIdx="7" presStyleCnt="8"/>
      <dgm:spPr/>
    </dgm:pt>
    <dgm:pt modelId="{A2895D17-D615-47C3-8069-B4555F769CF3}" type="pres">
      <dgm:prSet presAssocID="{B6102D53-0B77-4A6E-BC11-60C8ACB92086}" presName="Ellipse" presStyleLbl="fgAcc1" presStyleIdx="8" presStyleCnt="9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gm:spPr>
    </dgm:pt>
    <dgm:pt modelId="{D82EB940-4574-4C17-BBA2-DA174524E1D3}" type="pres">
      <dgm:prSet presAssocID="{B6102D53-0B77-4A6E-BC11-60C8ACB92086}" presName="L2TextContainer" presStyleLbl="revTx" presStyleIdx="14" presStyleCnt="16">
        <dgm:presLayoutVars>
          <dgm:bulletEnabled val="1"/>
        </dgm:presLayoutVars>
      </dgm:prSet>
      <dgm:spPr/>
    </dgm:pt>
    <dgm:pt modelId="{00F72544-0650-472A-9D53-F35F00F53BF5}" type="pres">
      <dgm:prSet presAssocID="{B6102D53-0B77-4A6E-BC11-60C8ACB92086}" presName="L1TextContainer" presStyleLbl="revTx" presStyleIdx="15" presStyleCnt="16">
        <dgm:presLayoutVars>
          <dgm:chMax val="1"/>
          <dgm:chPref val="1"/>
          <dgm:bulletEnabled val="1"/>
        </dgm:presLayoutVars>
      </dgm:prSet>
      <dgm:spPr/>
    </dgm:pt>
    <dgm:pt modelId="{12D6D719-982D-47B7-86E1-42E7F182918D}" type="pres">
      <dgm:prSet presAssocID="{B6102D53-0B77-4A6E-BC11-60C8ACB92086}" presName="ConnectLine" presStyleLbl="sibTrans1D1" presStyleIdx="7" presStyleCnt="8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5E35A71C-2E85-465B-82C0-F3502B93120D}" type="pres">
      <dgm:prSet presAssocID="{B6102D53-0B77-4A6E-BC11-60C8ACB92086}" presName="EmptyPlaceHolder" presStyleCnt="0"/>
      <dgm:spPr/>
    </dgm:pt>
  </dgm:ptLst>
  <dgm:cxnLst>
    <dgm:cxn modelId="{8476E705-86EF-47EE-8CF4-00F6AED77F7D}" type="presOf" srcId="{8EF7EAAB-C81C-4CF5-9AE6-1D68A5CDCCDA}" destId="{3FECDF7A-6F6D-4F5C-A376-6813A42E5DCD}" srcOrd="0" destOrd="0" presId="urn:microsoft.com/office/officeart/2017/3/layout/DropPinTimeline"/>
    <dgm:cxn modelId="{93E9BB17-A082-43A4-8F8F-3122CF39F9F3}" srcId="{0F6E8184-6640-4F09-A527-8D3861FEAF58}" destId="{4CA74B4D-450A-4B1A-AF65-713E4E88A15A}" srcOrd="2" destOrd="0" parTransId="{C15D8AA6-4717-4CE1-A1AB-67E9464F5147}" sibTransId="{D44480AC-D7F1-4B5C-B22D-7F844B1DBE2E}"/>
    <dgm:cxn modelId="{610CBE18-E210-4030-931A-33732F75089A}" type="presOf" srcId="{6CE3F52C-BE2C-4084-9060-714D02F35C17}" destId="{4C31140A-22F1-4344-8587-C4C16122DC8E}" srcOrd="0" destOrd="0" presId="urn:microsoft.com/office/officeart/2017/3/layout/DropPinTimeline"/>
    <dgm:cxn modelId="{5F4BB421-FF75-44CB-B5B2-8E97E3E67FF9}" srcId="{8EF7EAAB-C81C-4CF5-9AE6-1D68A5CDCCDA}" destId="{8E1CE21D-2541-4063-8530-04506542ECAC}" srcOrd="0" destOrd="0" parTransId="{6498FE70-1C23-45CA-B01D-EE0F0D4FCABA}" sibTransId="{512AEAF7-E06C-4913-BE4F-EDB176C4E723}"/>
    <dgm:cxn modelId="{EA9CA228-8179-4BAC-8AA4-7C5325D17062}" srcId="{63166B40-F97B-4A3E-9550-0C4884A88B7C}" destId="{0C45C7CB-D88E-44C2-832B-D4C11DCFC816}" srcOrd="0" destOrd="0" parTransId="{102C11CD-E0C0-4CD6-83D6-02CE2DA0F10E}" sibTransId="{3B14A5A0-4FDB-4243-B588-599EF7DA575D}"/>
    <dgm:cxn modelId="{DC700D2C-E89D-460E-840A-BAB6CF68599B}" type="presOf" srcId="{1F387FAB-1B24-4835-A9C3-3D7E52565232}" destId="{D82EB940-4574-4C17-BBA2-DA174524E1D3}" srcOrd="0" destOrd="0" presId="urn:microsoft.com/office/officeart/2017/3/layout/DropPinTimeline"/>
    <dgm:cxn modelId="{E21ACB2D-F9C2-41EE-AD02-8C92AD5F731F}" type="presOf" srcId="{7B17E182-27DA-4472-8656-1596786DD0D9}" destId="{9C9B1779-4CBC-4F61-B0C8-219F9C79FB14}" srcOrd="0" destOrd="0" presId="urn:microsoft.com/office/officeart/2017/3/layout/DropPinTimeline"/>
    <dgm:cxn modelId="{678AC83C-8CA2-496A-AE8D-0494D2E3F67A}" srcId="{0F6E8184-6640-4F09-A527-8D3861FEAF58}" destId="{63166B40-F97B-4A3E-9550-0C4884A88B7C}" srcOrd="4" destOrd="0" parTransId="{4106CDC8-F9D8-4B2B-B84D-8B644D1F715D}" sibTransId="{B6525E1B-CBCD-4D8F-A902-49ED500CF6C8}"/>
    <dgm:cxn modelId="{0BA1EF40-AEBB-402D-B847-C2DB94ACAF30}" srcId="{0F6E8184-6640-4F09-A527-8D3861FEAF58}" destId="{8EF7EAAB-C81C-4CF5-9AE6-1D68A5CDCCDA}" srcOrd="5" destOrd="0" parTransId="{1B00E632-6B67-4215-9369-415852D72729}" sibTransId="{24555A22-1A52-4D2F-8722-5BF711876432}"/>
    <dgm:cxn modelId="{1FEAEB5F-724C-4206-ADA3-B9DCE3772C4B}" type="presOf" srcId="{63166B40-F97B-4A3E-9550-0C4884A88B7C}" destId="{7A30048A-E77A-486B-BDBF-F186824D6F34}" srcOrd="0" destOrd="0" presId="urn:microsoft.com/office/officeart/2017/3/layout/DropPinTimeline"/>
    <dgm:cxn modelId="{B2060745-419A-4EBE-ACEF-1A4BCED5466B}" type="presOf" srcId="{4CA74B4D-450A-4B1A-AF65-713E4E88A15A}" destId="{56317820-7051-4C8F-B774-D5D1CDE573BE}" srcOrd="0" destOrd="0" presId="urn:microsoft.com/office/officeart/2017/3/layout/DropPinTimeline"/>
    <dgm:cxn modelId="{9F235B45-851B-47DF-9723-24B277B3C735}" type="presOf" srcId="{0C45C7CB-D88E-44C2-832B-D4C11DCFC816}" destId="{ED2D503C-6CAD-494E-9C83-AD5856E177A6}" srcOrd="0" destOrd="0" presId="urn:microsoft.com/office/officeart/2017/3/layout/DropPinTimeline"/>
    <dgm:cxn modelId="{97D0B149-CB52-4785-839C-0958DC6DBBBA}" srcId="{0F6E8184-6640-4F09-A527-8D3861FEAF58}" destId="{D667BA63-B818-4CAA-A737-FBEB4421EC00}" srcOrd="0" destOrd="0" parTransId="{07A20F48-AF29-4EAB-AE7E-DE71EFFC6355}" sibTransId="{0C387DFB-2BCA-4760-8060-F939FF8F231D}"/>
    <dgm:cxn modelId="{535F656C-43EC-4754-92B5-46917171B614}" type="presOf" srcId="{99964707-1C2B-46E7-BD29-3F9C4DCD0F40}" destId="{DC47BB45-3933-4FB9-9769-530D59DDFB1B}" srcOrd="0" destOrd="0" presId="urn:microsoft.com/office/officeart/2017/3/layout/DropPinTimeline"/>
    <dgm:cxn modelId="{C259C84E-BD89-4F85-949F-3959457596E6}" type="presOf" srcId="{D667BA63-B818-4CAA-A737-FBEB4421EC00}" destId="{809182C7-5D29-4345-820D-5D8CC5985691}" srcOrd="0" destOrd="0" presId="urn:microsoft.com/office/officeart/2017/3/layout/DropPinTimeline"/>
    <dgm:cxn modelId="{7B4D767B-17ED-45C7-B5BB-8D192B2FE4E4}" srcId="{B6102D53-0B77-4A6E-BC11-60C8ACB92086}" destId="{1F387FAB-1B24-4835-A9C3-3D7E52565232}" srcOrd="0" destOrd="0" parTransId="{93ACC080-EFBB-4BAB-8A41-1FA75D726ADF}" sibTransId="{3125D7F7-A0FF-4BA9-9DB2-26AEE49CEA5E}"/>
    <dgm:cxn modelId="{62038780-F832-4777-A2F0-240CE43C8E84}" type="presOf" srcId="{7C89D940-5D37-49F9-858D-25BB1E58CF58}" destId="{712F26D3-EBD6-46BF-BE48-FFB520EDFA08}" srcOrd="0" destOrd="0" presId="urn:microsoft.com/office/officeart/2017/3/layout/DropPinTimeline"/>
    <dgm:cxn modelId="{705D0387-E5D0-464F-BB95-2D59B3AD828C}" srcId="{D667BA63-B818-4CAA-A737-FBEB4421EC00}" destId="{7C89D940-5D37-49F9-858D-25BB1E58CF58}" srcOrd="0" destOrd="0" parTransId="{3BF83C38-8C8C-40BB-AA44-333E09578C7F}" sibTransId="{3E84EB8D-FD6F-498F-BED5-9993DE96B127}"/>
    <dgm:cxn modelId="{F19F7D93-F055-4D99-A934-74EFFAC6CDC5}" type="presOf" srcId="{DC59C05E-749D-47C9-864E-D4F1AC863C0D}" destId="{DAC1F416-285E-4465-81C2-E6DA616BEC2D}" srcOrd="0" destOrd="0" presId="urn:microsoft.com/office/officeart/2017/3/layout/DropPinTimeline"/>
    <dgm:cxn modelId="{FC708A98-2A1E-4E6A-9FE8-43BE20C334FF}" srcId="{0F6E8184-6640-4F09-A527-8D3861FEAF58}" destId="{29982918-FC04-49A6-B8F6-D6A67B05D36B}" srcOrd="6" destOrd="0" parTransId="{B5F49FDB-7EDB-45BD-BA31-ED8DADCE117E}" sibTransId="{40392CFA-CCEA-42D3-ACFD-16F36E44345B}"/>
    <dgm:cxn modelId="{91F66B9D-B230-4169-A5ED-8E7050EE964D}" type="presOf" srcId="{BC058144-3094-4FC1-ACCE-165A46E3D4CB}" destId="{0393B18E-6175-4317-85D8-AB17270A56B0}" srcOrd="0" destOrd="0" presId="urn:microsoft.com/office/officeart/2017/3/layout/DropPinTimeline"/>
    <dgm:cxn modelId="{693C8EA0-C50E-459A-AB32-88305630BA72}" type="presOf" srcId="{8E1CE21D-2541-4063-8530-04506542ECAC}" destId="{AC6D2B1A-A38D-4654-B41E-651010449319}" srcOrd="0" destOrd="0" presId="urn:microsoft.com/office/officeart/2017/3/layout/DropPinTimeline"/>
    <dgm:cxn modelId="{BD47F8A5-2FD6-4127-9A86-F57719BC2399}" srcId="{4CA74B4D-450A-4B1A-AF65-713E4E88A15A}" destId="{7B17E182-27DA-4472-8656-1596786DD0D9}" srcOrd="0" destOrd="0" parTransId="{013B19BA-9DF0-4CCB-BEA1-ACAA71895E89}" sibTransId="{536A0CA4-973C-4DA3-A086-417B44A9F35F}"/>
    <dgm:cxn modelId="{A13CFFAD-76C9-4AD1-8B31-DFE7383EDF66}" srcId="{6CE3F52C-BE2C-4084-9060-714D02F35C17}" destId="{06A406EE-B63B-41A3-AF82-00ACDAB169BA}" srcOrd="0" destOrd="0" parTransId="{63214697-1B43-43C6-8664-B9A1C4C799AE}" sibTransId="{9607BFAA-7F31-407E-81C5-33FDD159926F}"/>
    <dgm:cxn modelId="{75EE2DAF-9CB2-433C-BB50-79FCE83EEB87}" type="presOf" srcId="{29982918-FC04-49A6-B8F6-D6A67B05D36B}" destId="{8CA6550F-66C7-4298-A593-83DA97436E96}" srcOrd="0" destOrd="0" presId="urn:microsoft.com/office/officeart/2017/3/layout/DropPinTimeline"/>
    <dgm:cxn modelId="{A037B7C1-7C82-44C8-A20F-29B2DF718535}" srcId="{0F6E8184-6640-4F09-A527-8D3861FEAF58}" destId="{B6102D53-0B77-4A6E-BC11-60C8ACB92086}" srcOrd="7" destOrd="0" parTransId="{567CDF19-B262-4ECC-AECA-8A3DDD8B8C3F}" sibTransId="{663D0A69-415E-4A65-BAA9-E2CBA205DB25}"/>
    <dgm:cxn modelId="{45CAC8C2-7423-471A-BD1F-CD1F7FCE0DEA}" type="presOf" srcId="{06A406EE-B63B-41A3-AF82-00ACDAB169BA}" destId="{BDAA938F-0A32-487A-990D-5F62262C1CA2}" srcOrd="0" destOrd="0" presId="urn:microsoft.com/office/officeart/2017/3/layout/DropPinTimeline"/>
    <dgm:cxn modelId="{E0D15FC6-51E3-4686-A73F-1F5D284EDBE0}" srcId="{29982918-FC04-49A6-B8F6-D6A67B05D36B}" destId="{BC058144-3094-4FC1-ACCE-165A46E3D4CB}" srcOrd="0" destOrd="0" parTransId="{6E6694F4-02AD-44DC-B239-84AFCAE602CD}" sibTransId="{354BE681-B648-46E4-BC24-3600952088A4}"/>
    <dgm:cxn modelId="{92842ADA-4A04-4A0C-AC3C-87A9674E1FF4}" srcId="{0F6E8184-6640-4F09-A527-8D3861FEAF58}" destId="{6CE3F52C-BE2C-4084-9060-714D02F35C17}" srcOrd="3" destOrd="0" parTransId="{1755B2A3-F9B2-43EE-8313-50082B2482D3}" sibTransId="{3245B5C7-74FE-408D-971E-C8C331F96863}"/>
    <dgm:cxn modelId="{F4DB1BEE-2A52-48C2-AADC-D61C626C8DC2}" type="presOf" srcId="{0F6E8184-6640-4F09-A527-8D3861FEAF58}" destId="{FF5D72E9-4206-47F8-BFD5-59FF312368A5}" srcOrd="0" destOrd="0" presId="urn:microsoft.com/office/officeart/2017/3/layout/DropPinTimeline"/>
    <dgm:cxn modelId="{0594C2F0-3C03-4ED4-833B-7305B1E4D0EA}" type="presOf" srcId="{B6102D53-0B77-4A6E-BC11-60C8ACB92086}" destId="{00F72544-0650-472A-9D53-F35F00F53BF5}" srcOrd="0" destOrd="0" presId="urn:microsoft.com/office/officeart/2017/3/layout/DropPinTimeline"/>
    <dgm:cxn modelId="{1D8BCDF8-65CC-4268-98FA-495C381B1A77}" srcId="{99964707-1C2B-46E7-BD29-3F9C4DCD0F40}" destId="{DC59C05E-749D-47C9-864E-D4F1AC863C0D}" srcOrd="0" destOrd="0" parTransId="{C0967635-0FC3-44B9-8D2E-8A3AF5A1C72A}" sibTransId="{353A13B3-DF88-4D40-8649-1B8D36C9E956}"/>
    <dgm:cxn modelId="{42678EFD-DB52-4236-A3B5-35A5DAC3B14C}" srcId="{0F6E8184-6640-4F09-A527-8D3861FEAF58}" destId="{99964707-1C2B-46E7-BD29-3F9C4DCD0F40}" srcOrd="1" destOrd="0" parTransId="{73B4D98B-D350-43F5-825C-BE33A09050FC}" sibTransId="{96B47E33-D9BD-45E9-B9B8-4FEE05B2C037}"/>
    <dgm:cxn modelId="{F2A6D2E6-078E-4C49-9054-092B7C2AD03C}" type="presParOf" srcId="{FF5D72E9-4206-47F8-BFD5-59FF312368A5}" destId="{D166CB41-7290-41DA-AA8D-D131503C488D}" srcOrd="0" destOrd="0" presId="urn:microsoft.com/office/officeart/2017/3/layout/DropPinTimeline"/>
    <dgm:cxn modelId="{E1F76E86-1794-4785-B217-8E395019E5F9}" type="presParOf" srcId="{FF5D72E9-4206-47F8-BFD5-59FF312368A5}" destId="{0B89048E-4004-41BA-82E1-C11C18601907}" srcOrd="1" destOrd="0" presId="urn:microsoft.com/office/officeart/2017/3/layout/DropPinTimeline"/>
    <dgm:cxn modelId="{B69AFB0A-F662-4F87-99D1-B1F28D18007E}" type="presParOf" srcId="{0B89048E-4004-41BA-82E1-C11C18601907}" destId="{670A6668-A681-41C9-A44B-045D5D2A6F31}" srcOrd="0" destOrd="0" presId="urn:microsoft.com/office/officeart/2017/3/layout/DropPinTimeline"/>
    <dgm:cxn modelId="{BA04581F-A841-4B2B-A968-FB6C49F39169}" type="presParOf" srcId="{670A6668-A681-41C9-A44B-045D5D2A6F31}" destId="{0B2821A8-A610-47B8-AB80-534B1D86B5A5}" srcOrd="0" destOrd="0" presId="urn:microsoft.com/office/officeart/2017/3/layout/DropPinTimeline"/>
    <dgm:cxn modelId="{427A4B55-83CE-4332-B62B-D88239120E05}" type="presParOf" srcId="{670A6668-A681-41C9-A44B-045D5D2A6F31}" destId="{428031C2-DCD5-427C-AFC7-6114F2C1AEDD}" srcOrd="1" destOrd="0" presId="urn:microsoft.com/office/officeart/2017/3/layout/DropPinTimeline"/>
    <dgm:cxn modelId="{700A3E82-F85A-4104-838C-4E1547356D8C}" type="presParOf" srcId="{428031C2-DCD5-427C-AFC7-6114F2C1AEDD}" destId="{6902DED8-C73A-4D34-AB67-9C847EA1A550}" srcOrd="0" destOrd="0" presId="urn:microsoft.com/office/officeart/2017/3/layout/DropPinTimeline"/>
    <dgm:cxn modelId="{E33E4FC5-E2EA-479D-A6C4-D3C63F1AB67A}" type="presParOf" srcId="{428031C2-DCD5-427C-AFC7-6114F2C1AEDD}" destId="{15A6C02A-D850-4C7F-952A-EEAEC0453674}" srcOrd="1" destOrd="0" presId="urn:microsoft.com/office/officeart/2017/3/layout/DropPinTimeline"/>
    <dgm:cxn modelId="{88E45AD9-0076-42C3-BB55-67A1D4F12F01}" type="presParOf" srcId="{670A6668-A681-41C9-A44B-045D5D2A6F31}" destId="{712F26D3-EBD6-46BF-BE48-FFB520EDFA08}" srcOrd="2" destOrd="0" presId="urn:microsoft.com/office/officeart/2017/3/layout/DropPinTimeline"/>
    <dgm:cxn modelId="{895ACC78-4A1D-45B6-B7C6-F93D8412ACFA}" type="presParOf" srcId="{670A6668-A681-41C9-A44B-045D5D2A6F31}" destId="{809182C7-5D29-4345-820D-5D8CC5985691}" srcOrd="3" destOrd="0" presId="urn:microsoft.com/office/officeart/2017/3/layout/DropPinTimeline"/>
    <dgm:cxn modelId="{FCB98AFC-188F-47DE-BAE1-D3F94524539E}" type="presParOf" srcId="{670A6668-A681-41C9-A44B-045D5D2A6F31}" destId="{1701025A-0A6E-407D-B675-E17549362622}" srcOrd="4" destOrd="0" presId="urn:microsoft.com/office/officeart/2017/3/layout/DropPinTimeline"/>
    <dgm:cxn modelId="{F3FF90B2-3DEF-4A7B-8EF4-C5B2893EA6DF}" type="presParOf" srcId="{670A6668-A681-41C9-A44B-045D5D2A6F31}" destId="{948665EF-90EE-46B4-8617-A6B19B342311}" srcOrd="5" destOrd="0" presId="urn:microsoft.com/office/officeart/2017/3/layout/DropPinTimeline"/>
    <dgm:cxn modelId="{9C61E7C7-8248-4B41-92DA-CC6B809FB8EB}" type="presParOf" srcId="{0B89048E-4004-41BA-82E1-C11C18601907}" destId="{77DA094C-732A-4F46-8EC0-E380460ED77D}" srcOrd="1" destOrd="0" presId="urn:microsoft.com/office/officeart/2017/3/layout/DropPinTimeline"/>
    <dgm:cxn modelId="{8F904499-B1A6-4574-9EE5-1A4EB133E6A5}" type="presParOf" srcId="{0B89048E-4004-41BA-82E1-C11C18601907}" destId="{6B73880B-9A8E-4057-A27A-87AD81884ECA}" srcOrd="2" destOrd="0" presId="urn:microsoft.com/office/officeart/2017/3/layout/DropPinTimeline"/>
    <dgm:cxn modelId="{EF189BED-893A-4C98-BCD0-F7FF9099DEAC}" type="presParOf" srcId="{6B73880B-9A8E-4057-A27A-87AD81884ECA}" destId="{C230DC0B-F43F-4609-B186-9447ECB497D2}" srcOrd="0" destOrd="0" presId="urn:microsoft.com/office/officeart/2017/3/layout/DropPinTimeline"/>
    <dgm:cxn modelId="{337669D9-D525-4AB9-950F-B1D8122DE0BD}" type="presParOf" srcId="{6B73880B-9A8E-4057-A27A-87AD81884ECA}" destId="{CD847D88-2F91-4724-B950-440BD5A85FF2}" srcOrd="1" destOrd="0" presId="urn:microsoft.com/office/officeart/2017/3/layout/DropPinTimeline"/>
    <dgm:cxn modelId="{1171B75C-7D8E-49C3-8F60-EA99D8D90222}" type="presParOf" srcId="{CD847D88-2F91-4724-B950-440BD5A85FF2}" destId="{C14D7BCD-7938-47CD-B81E-C577CC317BB7}" srcOrd="0" destOrd="0" presId="urn:microsoft.com/office/officeart/2017/3/layout/DropPinTimeline"/>
    <dgm:cxn modelId="{F871700B-ACFC-44B1-A5C7-675C27F4689C}" type="presParOf" srcId="{CD847D88-2F91-4724-B950-440BD5A85FF2}" destId="{EC594FF8-4D43-4E89-8872-E1DE2E73FC2E}" srcOrd="1" destOrd="0" presId="urn:microsoft.com/office/officeart/2017/3/layout/DropPinTimeline"/>
    <dgm:cxn modelId="{EA1A9F0A-6BE7-46AE-BBE7-AC0B1A0DDC81}" type="presParOf" srcId="{6B73880B-9A8E-4057-A27A-87AD81884ECA}" destId="{DAC1F416-285E-4465-81C2-E6DA616BEC2D}" srcOrd="2" destOrd="0" presId="urn:microsoft.com/office/officeart/2017/3/layout/DropPinTimeline"/>
    <dgm:cxn modelId="{862361FE-2969-4595-93E1-5C97C1EDA9B9}" type="presParOf" srcId="{6B73880B-9A8E-4057-A27A-87AD81884ECA}" destId="{DC47BB45-3933-4FB9-9769-530D59DDFB1B}" srcOrd="3" destOrd="0" presId="urn:microsoft.com/office/officeart/2017/3/layout/DropPinTimeline"/>
    <dgm:cxn modelId="{EE77D475-952A-4CAE-B172-9E469C15E81D}" type="presParOf" srcId="{6B73880B-9A8E-4057-A27A-87AD81884ECA}" destId="{3B20E28C-74E1-482A-BB3C-7538FF984CFC}" srcOrd="4" destOrd="0" presId="urn:microsoft.com/office/officeart/2017/3/layout/DropPinTimeline"/>
    <dgm:cxn modelId="{782A36C6-76B8-4A0B-A7F0-9F66102C7FF0}" type="presParOf" srcId="{6B73880B-9A8E-4057-A27A-87AD81884ECA}" destId="{30528DCC-D490-44BD-BCAC-257273D06595}" srcOrd="5" destOrd="0" presId="urn:microsoft.com/office/officeart/2017/3/layout/DropPinTimeline"/>
    <dgm:cxn modelId="{06DB7C17-2735-4C3D-A513-AA7EFD2BE34C}" type="presParOf" srcId="{0B89048E-4004-41BA-82E1-C11C18601907}" destId="{2CCB0579-831F-489C-8460-E2696D56D2BD}" srcOrd="3" destOrd="0" presId="urn:microsoft.com/office/officeart/2017/3/layout/DropPinTimeline"/>
    <dgm:cxn modelId="{A18FAD81-9CC7-47B6-AF5A-2586F759DC6D}" type="presParOf" srcId="{0B89048E-4004-41BA-82E1-C11C18601907}" destId="{D9988B74-5A49-4BB6-8447-3AD1EDC9E780}" srcOrd="4" destOrd="0" presId="urn:microsoft.com/office/officeart/2017/3/layout/DropPinTimeline"/>
    <dgm:cxn modelId="{4537C15D-0714-4C53-ABF0-1C1890FC8AD1}" type="presParOf" srcId="{D9988B74-5A49-4BB6-8447-3AD1EDC9E780}" destId="{3F575196-1C2E-4D18-85FB-0257082CDD81}" srcOrd="0" destOrd="0" presId="urn:microsoft.com/office/officeart/2017/3/layout/DropPinTimeline"/>
    <dgm:cxn modelId="{FBCE65F5-FFC0-4469-AE2D-A5E2CCE68940}" type="presParOf" srcId="{D9988B74-5A49-4BB6-8447-3AD1EDC9E780}" destId="{FD12D45F-0FDD-486B-8508-6691FD5B35A9}" srcOrd="1" destOrd="0" presId="urn:microsoft.com/office/officeart/2017/3/layout/DropPinTimeline"/>
    <dgm:cxn modelId="{53754B04-48F8-40C0-9FCD-09A50F8F12EE}" type="presParOf" srcId="{FD12D45F-0FDD-486B-8508-6691FD5B35A9}" destId="{64C4EA93-912B-4541-BDDF-FC1C5210286D}" srcOrd="0" destOrd="0" presId="urn:microsoft.com/office/officeart/2017/3/layout/DropPinTimeline"/>
    <dgm:cxn modelId="{B5F4026C-ED6E-4A90-9076-0EB01B34A5AA}" type="presParOf" srcId="{FD12D45F-0FDD-486B-8508-6691FD5B35A9}" destId="{44049E3C-BECB-4DB2-B28A-8642C51BC929}" srcOrd="1" destOrd="0" presId="urn:microsoft.com/office/officeart/2017/3/layout/DropPinTimeline"/>
    <dgm:cxn modelId="{46483140-EB35-4A3C-8A3F-4DFC23071B2C}" type="presParOf" srcId="{D9988B74-5A49-4BB6-8447-3AD1EDC9E780}" destId="{9C9B1779-4CBC-4F61-B0C8-219F9C79FB14}" srcOrd="2" destOrd="0" presId="urn:microsoft.com/office/officeart/2017/3/layout/DropPinTimeline"/>
    <dgm:cxn modelId="{AC8B5D77-500C-4F28-B9F2-35812C6261C6}" type="presParOf" srcId="{D9988B74-5A49-4BB6-8447-3AD1EDC9E780}" destId="{56317820-7051-4C8F-B774-D5D1CDE573BE}" srcOrd="3" destOrd="0" presId="urn:microsoft.com/office/officeart/2017/3/layout/DropPinTimeline"/>
    <dgm:cxn modelId="{5126F3EF-D1E7-4C7B-A7CC-2628547296BD}" type="presParOf" srcId="{D9988B74-5A49-4BB6-8447-3AD1EDC9E780}" destId="{57FA1EC9-B160-4FCF-96F9-BA4DBB3FD452}" srcOrd="4" destOrd="0" presId="urn:microsoft.com/office/officeart/2017/3/layout/DropPinTimeline"/>
    <dgm:cxn modelId="{50C2A9BF-8E57-4573-A485-3CD159935675}" type="presParOf" srcId="{D9988B74-5A49-4BB6-8447-3AD1EDC9E780}" destId="{0997B513-EB53-4F3F-A2E8-FB6EB50CD6B7}" srcOrd="5" destOrd="0" presId="urn:microsoft.com/office/officeart/2017/3/layout/DropPinTimeline"/>
    <dgm:cxn modelId="{1A66D108-BAAF-43AF-A838-4D653526EE5C}" type="presParOf" srcId="{0B89048E-4004-41BA-82E1-C11C18601907}" destId="{D57DB9B6-931F-439D-87B6-078C826C3F78}" srcOrd="5" destOrd="0" presId="urn:microsoft.com/office/officeart/2017/3/layout/DropPinTimeline"/>
    <dgm:cxn modelId="{8C832B0B-DB00-4234-BF4E-F5511DD2BECD}" type="presParOf" srcId="{0B89048E-4004-41BA-82E1-C11C18601907}" destId="{EFAE615A-07C9-415E-8E2E-89F8EA07DF71}" srcOrd="6" destOrd="0" presId="urn:microsoft.com/office/officeart/2017/3/layout/DropPinTimeline"/>
    <dgm:cxn modelId="{0B53A0F3-F6E7-428F-9596-8ABE435F9C0C}" type="presParOf" srcId="{EFAE615A-07C9-415E-8E2E-89F8EA07DF71}" destId="{56EABFB8-7E01-40DB-87A2-15CEDE9FEAC3}" srcOrd="0" destOrd="0" presId="urn:microsoft.com/office/officeart/2017/3/layout/DropPinTimeline"/>
    <dgm:cxn modelId="{2C52A2A5-5DF1-4C6A-9133-9EBD873E79F4}" type="presParOf" srcId="{EFAE615A-07C9-415E-8E2E-89F8EA07DF71}" destId="{949E7790-DB76-48E7-A7C1-CB722FCD9EA7}" srcOrd="1" destOrd="0" presId="urn:microsoft.com/office/officeart/2017/3/layout/DropPinTimeline"/>
    <dgm:cxn modelId="{A7BD96CB-12E3-4196-9A93-70E4F193F91E}" type="presParOf" srcId="{949E7790-DB76-48E7-A7C1-CB722FCD9EA7}" destId="{09FAACE4-6010-4794-BF0E-266FFE5B7F7F}" srcOrd="0" destOrd="0" presId="urn:microsoft.com/office/officeart/2017/3/layout/DropPinTimeline"/>
    <dgm:cxn modelId="{14C3BCE5-F442-411F-A5BE-6845D78C345D}" type="presParOf" srcId="{949E7790-DB76-48E7-A7C1-CB722FCD9EA7}" destId="{F96D1042-3AFA-422E-B6BA-D48BAE0C9A81}" srcOrd="1" destOrd="0" presId="urn:microsoft.com/office/officeart/2017/3/layout/DropPinTimeline"/>
    <dgm:cxn modelId="{728E9EDE-5306-4370-B0A4-FC7E1606793D}" type="presParOf" srcId="{EFAE615A-07C9-415E-8E2E-89F8EA07DF71}" destId="{BDAA938F-0A32-487A-990D-5F62262C1CA2}" srcOrd="2" destOrd="0" presId="urn:microsoft.com/office/officeart/2017/3/layout/DropPinTimeline"/>
    <dgm:cxn modelId="{D6EA0DF2-3F1C-463F-8702-6417E01994FA}" type="presParOf" srcId="{EFAE615A-07C9-415E-8E2E-89F8EA07DF71}" destId="{4C31140A-22F1-4344-8587-C4C16122DC8E}" srcOrd="3" destOrd="0" presId="urn:microsoft.com/office/officeart/2017/3/layout/DropPinTimeline"/>
    <dgm:cxn modelId="{D0D78E38-1E88-4671-8450-94AE32CFA8C5}" type="presParOf" srcId="{EFAE615A-07C9-415E-8E2E-89F8EA07DF71}" destId="{22E89C9D-CC6D-4479-9C21-916A59419D4A}" srcOrd="4" destOrd="0" presId="urn:microsoft.com/office/officeart/2017/3/layout/DropPinTimeline"/>
    <dgm:cxn modelId="{739A5822-9FC9-4926-AD4E-DAD61FC88426}" type="presParOf" srcId="{EFAE615A-07C9-415E-8E2E-89F8EA07DF71}" destId="{705C823F-50B7-44F8-ACF8-2A1B498214ED}" srcOrd="5" destOrd="0" presId="urn:microsoft.com/office/officeart/2017/3/layout/DropPinTimeline"/>
    <dgm:cxn modelId="{3D686B05-2825-43D7-BD84-A443C43A3A8C}" type="presParOf" srcId="{0B89048E-4004-41BA-82E1-C11C18601907}" destId="{2347B370-4B37-41E4-8AFD-329F87D6E397}" srcOrd="7" destOrd="0" presId="urn:microsoft.com/office/officeart/2017/3/layout/DropPinTimeline"/>
    <dgm:cxn modelId="{7CEC7012-C96E-49E3-A155-32C851E18AA9}" type="presParOf" srcId="{0B89048E-4004-41BA-82E1-C11C18601907}" destId="{7D3B6AF8-B52C-42D7-8AA8-13F638DEE77B}" srcOrd="8" destOrd="0" presId="urn:microsoft.com/office/officeart/2017/3/layout/DropPinTimeline"/>
    <dgm:cxn modelId="{16510370-E773-4957-9A1E-D62BF4F99150}" type="presParOf" srcId="{7D3B6AF8-B52C-42D7-8AA8-13F638DEE77B}" destId="{19A820BD-17C7-43DC-8F1D-88A540590293}" srcOrd="0" destOrd="0" presId="urn:microsoft.com/office/officeart/2017/3/layout/DropPinTimeline"/>
    <dgm:cxn modelId="{385A0FB3-BFDF-4268-ACE8-F14C166BB103}" type="presParOf" srcId="{7D3B6AF8-B52C-42D7-8AA8-13F638DEE77B}" destId="{967748B3-F4F2-42E7-B067-207ED4BD8F02}" srcOrd="1" destOrd="0" presId="urn:microsoft.com/office/officeart/2017/3/layout/DropPinTimeline"/>
    <dgm:cxn modelId="{83023AEB-D5AB-4195-9D90-91D4EA7FC4BA}" type="presParOf" srcId="{967748B3-F4F2-42E7-B067-207ED4BD8F02}" destId="{3B7ED767-BE8C-47CE-99E5-DA5DA5380EC7}" srcOrd="0" destOrd="0" presId="urn:microsoft.com/office/officeart/2017/3/layout/DropPinTimeline"/>
    <dgm:cxn modelId="{E0339AED-5F1A-40D5-82DD-9595E5B7BA03}" type="presParOf" srcId="{967748B3-F4F2-42E7-B067-207ED4BD8F02}" destId="{22010698-79D3-4BB6-B573-834EA4A816AD}" srcOrd="1" destOrd="0" presId="urn:microsoft.com/office/officeart/2017/3/layout/DropPinTimeline"/>
    <dgm:cxn modelId="{8E04DAF8-3C12-4998-BDFC-BD85B9A853E2}" type="presParOf" srcId="{7D3B6AF8-B52C-42D7-8AA8-13F638DEE77B}" destId="{ED2D503C-6CAD-494E-9C83-AD5856E177A6}" srcOrd="2" destOrd="0" presId="urn:microsoft.com/office/officeart/2017/3/layout/DropPinTimeline"/>
    <dgm:cxn modelId="{B6082D9B-A5C0-4967-B7A5-71E158C08981}" type="presParOf" srcId="{7D3B6AF8-B52C-42D7-8AA8-13F638DEE77B}" destId="{7A30048A-E77A-486B-BDBF-F186824D6F34}" srcOrd="3" destOrd="0" presId="urn:microsoft.com/office/officeart/2017/3/layout/DropPinTimeline"/>
    <dgm:cxn modelId="{BE603DE7-6B8D-4B75-B5C3-6768E4235B99}" type="presParOf" srcId="{7D3B6AF8-B52C-42D7-8AA8-13F638DEE77B}" destId="{11BC5BF5-869A-4FFD-84E0-391FF203AEB4}" srcOrd="4" destOrd="0" presId="urn:microsoft.com/office/officeart/2017/3/layout/DropPinTimeline"/>
    <dgm:cxn modelId="{570B0ECB-E7A2-419B-96E1-AAB5296407A1}" type="presParOf" srcId="{7D3B6AF8-B52C-42D7-8AA8-13F638DEE77B}" destId="{B8848F47-BB13-4AF3-86FA-1A4FE77BCA33}" srcOrd="5" destOrd="0" presId="urn:microsoft.com/office/officeart/2017/3/layout/DropPinTimeline"/>
    <dgm:cxn modelId="{383D71E6-8ECF-446D-9B80-77B19660DE04}" type="presParOf" srcId="{0B89048E-4004-41BA-82E1-C11C18601907}" destId="{CCD14902-AB88-476A-88EA-56E966B2D3B0}" srcOrd="9" destOrd="0" presId="urn:microsoft.com/office/officeart/2017/3/layout/DropPinTimeline"/>
    <dgm:cxn modelId="{56094E9B-3B76-4E59-968B-BFCCE090BBD9}" type="presParOf" srcId="{0B89048E-4004-41BA-82E1-C11C18601907}" destId="{FFE6CCCC-477E-4996-8455-C2AE57D31E80}" srcOrd="10" destOrd="0" presId="urn:microsoft.com/office/officeart/2017/3/layout/DropPinTimeline"/>
    <dgm:cxn modelId="{32BA9BB8-144C-4B99-AD59-04CD4D1934F6}" type="presParOf" srcId="{FFE6CCCC-477E-4996-8455-C2AE57D31E80}" destId="{2142D96E-D8BC-4017-AEDB-336A1B0BF928}" srcOrd="0" destOrd="0" presId="urn:microsoft.com/office/officeart/2017/3/layout/DropPinTimeline"/>
    <dgm:cxn modelId="{9829B6D3-BF66-46AA-BA58-A4AA983B035C}" type="presParOf" srcId="{FFE6CCCC-477E-4996-8455-C2AE57D31E80}" destId="{C5B83CB3-E2A0-4F4F-99EF-17F12D009E7D}" srcOrd="1" destOrd="0" presId="urn:microsoft.com/office/officeart/2017/3/layout/DropPinTimeline"/>
    <dgm:cxn modelId="{0A5C4CBA-5EB0-43A1-B944-8FDBB61382D3}" type="presParOf" srcId="{C5B83CB3-E2A0-4F4F-99EF-17F12D009E7D}" destId="{4C813C25-100F-4D2E-8A5B-921773842EAD}" srcOrd="0" destOrd="0" presId="urn:microsoft.com/office/officeart/2017/3/layout/DropPinTimeline"/>
    <dgm:cxn modelId="{30F29654-F7B9-47EA-BB3F-B0944710D8CC}" type="presParOf" srcId="{C5B83CB3-E2A0-4F4F-99EF-17F12D009E7D}" destId="{9C805A14-29E3-4C5B-B644-2A367A70C92B}" srcOrd="1" destOrd="0" presId="urn:microsoft.com/office/officeart/2017/3/layout/DropPinTimeline"/>
    <dgm:cxn modelId="{7DFD2A84-3C02-44A5-9E45-08D208883F2D}" type="presParOf" srcId="{FFE6CCCC-477E-4996-8455-C2AE57D31E80}" destId="{AC6D2B1A-A38D-4654-B41E-651010449319}" srcOrd="2" destOrd="0" presId="urn:microsoft.com/office/officeart/2017/3/layout/DropPinTimeline"/>
    <dgm:cxn modelId="{111D7C08-B5E8-4A45-B797-B049BCDBE987}" type="presParOf" srcId="{FFE6CCCC-477E-4996-8455-C2AE57D31E80}" destId="{3FECDF7A-6F6D-4F5C-A376-6813A42E5DCD}" srcOrd="3" destOrd="0" presId="urn:microsoft.com/office/officeart/2017/3/layout/DropPinTimeline"/>
    <dgm:cxn modelId="{7CE26241-3AAF-4957-B449-5EF3729F9FB6}" type="presParOf" srcId="{FFE6CCCC-477E-4996-8455-C2AE57D31E80}" destId="{13FF83DE-76E7-488C-ACBD-6AA20FB394EF}" srcOrd="4" destOrd="0" presId="urn:microsoft.com/office/officeart/2017/3/layout/DropPinTimeline"/>
    <dgm:cxn modelId="{280880FD-22DF-4CE5-812C-8E3452984DD7}" type="presParOf" srcId="{FFE6CCCC-477E-4996-8455-C2AE57D31E80}" destId="{2B21A340-0088-4269-BC50-D85F1253B0C4}" srcOrd="5" destOrd="0" presId="urn:microsoft.com/office/officeart/2017/3/layout/DropPinTimeline"/>
    <dgm:cxn modelId="{6AC643D6-CC18-47D2-B5B2-B199D6AD6CDE}" type="presParOf" srcId="{0B89048E-4004-41BA-82E1-C11C18601907}" destId="{40C457B0-E81B-4E88-B198-8B3B8F400C5E}" srcOrd="11" destOrd="0" presId="urn:microsoft.com/office/officeart/2017/3/layout/DropPinTimeline"/>
    <dgm:cxn modelId="{2CB97F19-AF83-4F57-A723-7ABD151D0A73}" type="presParOf" srcId="{0B89048E-4004-41BA-82E1-C11C18601907}" destId="{248A4995-6EAE-4314-AE00-05C66BFF5157}" srcOrd="12" destOrd="0" presId="urn:microsoft.com/office/officeart/2017/3/layout/DropPinTimeline"/>
    <dgm:cxn modelId="{A4E3DBB5-72E4-470D-B102-A92367F958FA}" type="presParOf" srcId="{248A4995-6EAE-4314-AE00-05C66BFF5157}" destId="{B3C903AD-B91A-4FA1-BFCD-998DBD4B5867}" srcOrd="0" destOrd="0" presId="urn:microsoft.com/office/officeart/2017/3/layout/DropPinTimeline"/>
    <dgm:cxn modelId="{BC02C159-1E21-40D3-A693-9DF456F1A548}" type="presParOf" srcId="{248A4995-6EAE-4314-AE00-05C66BFF5157}" destId="{A1D1D91C-A4A7-4B4C-B207-AFFA4B7038DB}" srcOrd="1" destOrd="0" presId="urn:microsoft.com/office/officeart/2017/3/layout/DropPinTimeline"/>
    <dgm:cxn modelId="{58239512-9D57-4D37-8BA6-F7DA6F66D7CF}" type="presParOf" srcId="{A1D1D91C-A4A7-4B4C-B207-AFFA4B7038DB}" destId="{EFB80C96-812E-40FD-B857-907A151A3F25}" srcOrd="0" destOrd="0" presId="urn:microsoft.com/office/officeart/2017/3/layout/DropPinTimeline"/>
    <dgm:cxn modelId="{441CD981-6985-4EDF-B26D-ECB2882DC148}" type="presParOf" srcId="{A1D1D91C-A4A7-4B4C-B207-AFFA4B7038DB}" destId="{9141D117-12E1-4F14-8DC0-7CCBF20452F5}" srcOrd="1" destOrd="0" presId="urn:microsoft.com/office/officeart/2017/3/layout/DropPinTimeline"/>
    <dgm:cxn modelId="{B15AA8F1-8234-4109-B059-7949CEA3C815}" type="presParOf" srcId="{248A4995-6EAE-4314-AE00-05C66BFF5157}" destId="{0393B18E-6175-4317-85D8-AB17270A56B0}" srcOrd="2" destOrd="0" presId="urn:microsoft.com/office/officeart/2017/3/layout/DropPinTimeline"/>
    <dgm:cxn modelId="{ACF47AE3-C2FD-46EC-98DE-0E366EDAFF99}" type="presParOf" srcId="{248A4995-6EAE-4314-AE00-05C66BFF5157}" destId="{8CA6550F-66C7-4298-A593-83DA97436E96}" srcOrd="3" destOrd="0" presId="urn:microsoft.com/office/officeart/2017/3/layout/DropPinTimeline"/>
    <dgm:cxn modelId="{C0250616-0ECE-4885-9F15-FA2DBF9268B9}" type="presParOf" srcId="{248A4995-6EAE-4314-AE00-05C66BFF5157}" destId="{A3B3FACD-0F5C-4C70-B8B3-9765C3BF1891}" srcOrd="4" destOrd="0" presId="urn:microsoft.com/office/officeart/2017/3/layout/DropPinTimeline"/>
    <dgm:cxn modelId="{A6626967-DD19-4E75-B364-E5AE94744F03}" type="presParOf" srcId="{248A4995-6EAE-4314-AE00-05C66BFF5157}" destId="{0D85CF2F-40E1-462E-A0F1-3FCEDCC1D341}" srcOrd="5" destOrd="0" presId="urn:microsoft.com/office/officeart/2017/3/layout/DropPinTimeline"/>
    <dgm:cxn modelId="{19B7C573-577A-4890-8F01-489D534AD923}" type="presParOf" srcId="{0B89048E-4004-41BA-82E1-C11C18601907}" destId="{47ED9FE6-69EC-4591-97D4-A012D83F336B}" srcOrd="13" destOrd="0" presId="urn:microsoft.com/office/officeart/2017/3/layout/DropPinTimeline"/>
    <dgm:cxn modelId="{F667012E-BB5F-4212-8E7F-078A8393AC93}" type="presParOf" srcId="{0B89048E-4004-41BA-82E1-C11C18601907}" destId="{87CFB10B-39DD-4BFC-BDD1-64623C4235CE}" srcOrd="14" destOrd="0" presId="urn:microsoft.com/office/officeart/2017/3/layout/DropPinTimeline"/>
    <dgm:cxn modelId="{087A0D60-82A8-43A3-85FC-ED15A097F8F0}" type="presParOf" srcId="{87CFB10B-39DD-4BFC-BDD1-64623C4235CE}" destId="{D57118BA-C8CE-4E1E-9BD2-A602B5C2A75E}" srcOrd="0" destOrd="0" presId="urn:microsoft.com/office/officeart/2017/3/layout/DropPinTimeline"/>
    <dgm:cxn modelId="{C2F0ECCF-CCD1-47C1-B6B3-9C2216738CD3}" type="presParOf" srcId="{87CFB10B-39DD-4BFC-BDD1-64623C4235CE}" destId="{99DE5837-CA3E-4A33-9BCD-7C8844E2FBAB}" srcOrd="1" destOrd="0" presId="urn:microsoft.com/office/officeart/2017/3/layout/DropPinTimeline"/>
    <dgm:cxn modelId="{9EC2BA02-6E4E-4152-8FE7-B39A1B824272}" type="presParOf" srcId="{99DE5837-CA3E-4A33-9BCD-7C8844E2FBAB}" destId="{3B3DC42F-8EE3-48F8-A1BA-B1253894B53E}" srcOrd="0" destOrd="0" presId="urn:microsoft.com/office/officeart/2017/3/layout/DropPinTimeline"/>
    <dgm:cxn modelId="{4B4B9B93-66D9-4A20-980E-CF4EE661B65D}" type="presParOf" srcId="{99DE5837-CA3E-4A33-9BCD-7C8844E2FBAB}" destId="{A2895D17-D615-47C3-8069-B4555F769CF3}" srcOrd="1" destOrd="0" presId="urn:microsoft.com/office/officeart/2017/3/layout/DropPinTimeline"/>
    <dgm:cxn modelId="{BD993A3C-F190-4A3D-A000-1FA8DB099856}" type="presParOf" srcId="{87CFB10B-39DD-4BFC-BDD1-64623C4235CE}" destId="{D82EB940-4574-4C17-BBA2-DA174524E1D3}" srcOrd="2" destOrd="0" presId="urn:microsoft.com/office/officeart/2017/3/layout/DropPinTimeline"/>
    <dgm:cxn modelId="{E49533FF-CCA5-4155-8E84-6FEA2A4A43ED}" type="presParOf" srcId="{87CFB10B-39DD-4BFC-BDD1-64623C4235CE}" destId="{00F72544-0650-472A-9D53-F35F00F53BF5}" srcOrd="3" destOrd="0" presId="urn:microsoft.com/office/officeart/2017/3/layout/DropPinTimeline"/>
    <dgm:cxn modelId="{1C91EE00-A076-40A9-B739-9E0E459AA059}" type="presParOf" srcId="{87CFB10B-39DD-4BFC-BDD1-64623C4235CE}" destId="{12D6D719-982D-47B7-86E1-42E7F182918D}" srcOrd="4" destOrd="0" presId="urn:microsoft.com/office/officeart/2017/3/layout/DropPinTimeline"/>
    <dgm:cxn modelId="{5A466432-CA99-4908-8A28-E9B062DCE09C}" type="presParOf" srcId="{87CFB10B-39DD-4BFC-BDD1-64623C4235CE}" destId="{5E35A71C-2E85-465B-82C0-F3502B93120D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66CB41-7290-41DA-AA8D-D131503C488D}">
      <dsp:nvSpPr>
        <dsp:cNvPr id="0" name=""/>
        <dsp:cNvSpPr/>
      </dsp:nvSpPr>
      <dsp:spPr>
        <a:xfrm>
          <a:off x="0" y="2412206"/>
          <a:ext cx="11449049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902DED8-C73A-4D34-AB67-9C847EA1A550}">
      <dsp:nvSpPr>
        <dsp:cNvPr id="0" name=""/>
        <dsp:cNvSpPr/>
      </dsp:nvSpPr>
      <dsp:spPr>
        <a:xfrm rot="8100000">
          <a:off x="75462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5A6C02A-D850-4C7F-952A-EEAEC0453674}">
      <dsp:nvSpPr>
        <dsp:cNvPr id="0" name=""/>
        <dsp:cNvSpPr/>
      </dsp:nvSpPr>
      <dsp:spPr>
        <a:xfrm>
          <a:off x="113849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2F26D3-EBD6-46BF-BE48-FFB520EDFA08}">
      <dsp:nvSpPr>
        <dsp:cNvPr id="0" name=""/>
        <dsp:cNvSpPr/>
      </dsp:nvSpPr>
      <dsp:spPr>
        <a:xfrm>
          <a:off x="492571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ntroduction and AWS terminology</a:t>
          </a:r>
        </a:p>
      </dsp:txBody>
      <dsp:txXfrm>
        <a:off x="492571" y="984180"/>
        <a:ext cx="2061650" cy="1428026"/>
      </dsp:txXfrm>
    </dsp:sp>
    <dsp:sp modelId="{809182C7-5D29-4345-820D-5D8CC5985691}">
      <dsp:nvSpPr>
        <dsp:cNvPr id="0" name=""/>
        <dsp:cNvSpPr/>
      </dsp:nvSpPr>
      <dsp:spPr>
        <a:xfrm>
          <a:off x="492571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00 – 10:30</a:t>
          </a:r>
        </a:p>
      </dsp:txBody>
      <dsp:txXfrm>
        <a:off x="492571" y="482441"/>
        <a:ext cx="2061650" cy="501738"/>
      </dsp:txXfrm>
    </dsp:sp>
    <dsp:sp modelId="{1701025A-0A6E-407D-B675-E17549362622}">
      <dsp:nvSpPr>
        <dsp:cNvPr id="0" name=""/>
        <dsp:cNvSpPr/>
      </dsp:nvSpPr>
      <dsp:spPr>
        <a:xfrm>
          <a:off x="248234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821A8-A610-47B8-AB80-534B1D86B5A5}">
      <dsp:nvSpPr>
        <dsp:cNvPr id="0" name=""/>
        <dsp:cNvSpPr/>
      </dsp:nvSpPr>
      <dsp:spPr>
        <a:xfrm>
          <a:off x="21078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14D7BCD-7938-47CD-B81E-C577CC317BB7}">
      <dsp:nvSpPr>
        <dsp:cNvPr id="0" name=""/>
        <dsp:cNvSpPr/>
      </dsp:nvSpPr>
      <dsp:spPr>
        <a:xfrm rot="18900000">
          <a:off x="1345595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C594FF8-4D43-4E89-8872-E1DE2E73FC2E}">
      <dsp:nvSpPr>
        <dsp:cNvPr id="0" name=""/>
        <dsp:cNvSpPr/>
      </dsp:nvSpPr>
      <dsp:spPr>
        <a:xfrm>
          <a:off x="1383982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AC1F416-285E-4465-81C2-E6DA616BEC2D}">
      <dsp:nvSpPr>
        <dsp:cNvPr id="0" name=""/>
        <dsp:cNvSpPr/>
      </dsp:nvSpPr>
      <dsp:spPr>
        <a:xfrm>
          <a:off x="1762704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et up AWS CLI</a:t>
          </a:r>
        </a:p>
      </dsp:txBody>
      <dsp:txXfrm>
        <a:off x="1762704" y="2412206"/>
        <a:ext cx="2061650" cy="1428026"/>
      </dsp:txXfrm>
    </dsp:sp>
    <dsp:sp modelId="{DC47BB45-3933-4FB9-9769-530D59DDFB1B}">
      <dsp:nvSpPr>
        <dsp:cNvPr id="0" name=""/>
        <dsp:cNvSpPr/>
      </dsp:nvSpPr>
      <dsp:spPr>
        <a:xfrm>
          <a:off x="1762704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0:30 – 10:45</a:t>
          </a:r>
        </a:p>
      </dsp:txBody>
      <dsp:txXfrm>
        <a:off x="1762704" y="3840232"/>
        <a:ext cx="2061650" cy="501738"/>
      </dsp:txXfrm>
    </dsp:sp>
    <dsp:sp modelId="{3B20E28C-74E1-482A-BB3C-7538FF984CFC}">
      <dsp:nvSpPr>
        <dsp:cNvPr id="0" name=""/>
        <dsp:cNvSpPr/>
      </dsp:nvSpPr>
      <dsp:spPr>
        <a:xfrm>
          <a:off x="1518367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30DC0B-F43F-4609-B186-9447ECB497D2}">
      <dsp:nvSpPr>
        <dsp:cNvPr id="0" name=""/>
        <dsp:cNvSpPr/>
      </dsp:nvSpPr>
      <dsp:spPr>
        <a:xfrm>
          <a:off x="1480919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C4EA93-912B-4541-BDDF-FC1C5210286D}">
      <dsp:nvSpPr>
        <dsp:cNvPr id="0" name=""/>
        <dsp:cNvSpPr/>
      </dsp:nvSpPr>
      <dsp:spPr>
        <a:xfrm rot="8100000">
          <a:off x="2615728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049E3C-BECB-4DB2-B28A-8642C51BC929}">
      <dsp:nvSpPr>
        <dsp:cNvPr id="0" name=""/>
        <dsp:cNvSpPr/>
      </dsp:nvSpPr>
      <dsp:spPr>
        <a:xfrm>
          <a:off x="2654115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C9B1779-4CBC-4F61-B0C8-219F9C79FB14}">
      <dsp:nvSpPr>
        <dsp:cNvPr id="0" name=""/>
        <dsp:cNvSpPr/>
      </dsp:nvSpPr>
      <dsp:spPr>
        <a:xfrm>
          <a:off x="3032837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3</a:t>
          </a:r>
        </a:p>
      </dsp:txBody>
      <dsp:txXfrm>
        <a:off x="3032837" y="984180"/>
        <a:ext cx="2061650" cy="1428026"/>
      </dsp:txXfrm>
    </dsp:sp>
    <dsp:sp modelId="{56317820-7051-4C8F-B774-D5D1CDE573BE}">
      <dsp:nvSpPr>
        <dsp:cNvPr id="0" name=""/>
        <dsp:cNvSpPr/>
      </dsp:nvSpPr>
      <dsp:spPr>
        <a:xfrm>
          <a:off x="3032837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00 – 11:30</a:t>
          </a:r>
        </a:p>
      </dsp:txBody>
      <dsp:txXfrm>
        <a:off x="3032837" y="482441"/>
        <a:ext cx="2061650" cy="501738"/>
      </dsp:txXfrm>
    </dsp:sp>
    <dsp:sp modelId="{57FA1EC9-B160-4FCF-96F9-BA4DBB3FD452}">
      <dsp:nvSpPr>
        <dsp:cNvPr id="0" name=""/>
        <dsp:cNvSpPr/>
      </dsp:nvSpPr>
      <dsp:spPr>
        <a:xfrm>
          <a:off x="2788500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575196-1C2E-4D18-85FB-0257082CDD81}">
      <dsp:nvSpPr>
        <dsp:cNvPr id="0" name=""/>
        <dsp:cNvSpPr/>
      </dsp:nvSpPr>
      <dsp:spPr>
        <a:xfrm>
          <a:off x="2751052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9FAACE4-6010-4794-BF0E-266FFE5B7F7F}">
      <dsp:nvSpPr>
        <dsp:cNvPr id="0" name=""/>
        <dsp:cNvSpPr/>
      </dsp:nvSpPr>
      <dsp:spPr>
        <a:xfrm rot="18900000">
          <a:off x="3885861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96D1042-3AFA-422E-B6BA-D48BAE0C9A81}">
      <dsp:nvSpPr>
        <dsp:cNvPr id="0" name=""/>
        <dsp:cNvSpPr/>
      </dsp:nvSpPr>
      <dsp:spPr>
        <a:xfrm>
          <a:off x="3924248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A938F-0A32-487A-990D-5F62262C1CA2}">
      <dsp:nvSpPr>
        <dsp:cNvPr id="0" name=""/>
        <dsp:cNvSpPr/>
      </dsp:nvSpPr>
      <dsp:spPr>
        <a:xfrm>
          <a:off x="4302970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ynamoDB</a:t>
          </a:r>
        </a:p>
      </dsp:txBody>
      <dsp:txXfrm>
        <a:off x="4302970" y="2412206"/>
        <a:ext cx="2061650" cy="1428026"/>
      </dsp:txXfrm>
    </dsp:sp>
    <dsp:sp modelId="{4C31140A-22F1-4344-8587-C4C16122DC8E}">
      <dsp:nvSpPr>
        <dsp:cNvPr id="0" name=""/>
        <dsp:cNvSpPr/>
      </dsp:nvSpPr>
      <dsp:spPr>
        <a:xfrm>
          <a:off x="4302970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1:30 – 12:30</a:t>
          </a:r>
        </a:p>
      </dsp:txBody>
      <dsp:txXfrm>
        <a:off x="4302970" y="3840232"/>
        <a:ext cx="2061650" cy="501738"/>
      </dsp:txXfrm>
    </dsp:sp>
    <dsp:sp modelId="{22E89C9D-CC6D-4479-9C21-916A59419D4A}">
      <dsp:nvSpPr>
        <dsp:cNvPr id="0" name=""/>
        <dsp:cNvSpPr/>
      </dsp:nvSpPr>
      <dsp:spPr>
        <a:xfrm>
          <a:off x="4058633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EABFB8-7E01-40DB-87A2-15CEDE9FEAC3}">
      <dsp:nvSpPr>
        <dsp:cNvPr id="0" name=""/>
        <dsp:cNvSpPr/>
      </dsp:nvSpPr>
      <dsp:spPr>
        <a:xfrm>
          <a:off x="4021185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7ED767-BE8C-47CE-99E5-DA5DA5380EC7}">
      <dsp:nvSpPr>
        <dsp:cNvPr id="0" name=""/>
        <dsp:cNvSpPr/>
      </dsp:nvSpPr>
      <dsp:spPr>
        <a:xfrm rot="8100000">
          <a:off x="5155993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2010698-79D3-4BB6-B573-834EA4A816AD}">
      <dsp:nvSpPr>
        <dsp:cNvPr id="0" name=""/>
        <dsp:cNvSpPr/>
      </dsp:nvSpPr>
      <dsp:spPr>
        <a:xfrm>
          <a:off x="5194380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D2D503C-6CAD-494E-9C83-AD5856E177A6}">
      <dsp:nvSpPr>
        <dsp:cNvPr id="0" name=""/>
        <dsp:cNvSpPr/>
      </dsp:nvSpPr>
      <dsp:spPr>
        <a:xfrm>
          <a:off x="5573103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unch break</a:t>
          </a:r>
        </a:p>
      </dsp:txBody>
      <dsp:txXfrm>
        <a:off x="5573103" y="984180"/>
        <a:ext cx="2061650" cy="1428026"/>
      </dsp:txXfrm>
    </dsp:sp>
    <dsp:sp modelId="{7A30048A-E77A-486B-BDBF-F186824D6F34}">
      <dsp:nvSpPr>
        <dsp:cNvPr id="0" name=""/>
        <dsp:cNvSpPr/>
      </dsp:nvSpPr>
      <dsp:spPr>
        <a:xfrm>
          <a:off x="5573103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2:30 – 13:30</a:t>
          </a:r>
        </a:p>
      </dsp:txBody>
      <dsp:txXfrm>
        <a:off x="5573103" y="482441"/>
        <a:ext cx="2061650" cy="501738"/>
      </dsp:txXfrm>
    </dsp:sp>
    <dsp:sp modelId="{11BC5BF5-869A-4FFD-84E0-391FF203AEB4}">
      <dsp:nvSpPr>
        <dsp:cNvPr id="0" name=""/>
        <dsp:cNvSpPr/>
      </dsp:nvSpPr>
      <dsp:spPr>
        <a:xfrm>
          <a:off x="5328766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A820BD-17C7-43DC-8F1D-88A540590293}">
      <dsp:nvSpPr>
        <dsp:cNvPr id="0" name=""/>
        <dsp:cNvSpPr/>
      </dsp:nvSpPr>
      <dsp:spPr>
        <a:xfrm>
          <a:off x="5291317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C813C25-100F-4D2E-8A5B-921773842EAD}">
      <dsp:nvSpPr>
        <dsp:cNvPr id="0" name=""/>
        <dsp:cNvSpPr/>
      </dsp:nvSpPr>
      <dsp:spPr>
        <a:xfrm rot="18900000">
          <a:off x="6426126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C805A14-29E3-4C5B-B644-2A367A70C92B}">
      <dsp:nvSpPr>
        <dsp:cNvPr id="0" name=""/>
        <dsp:cNvSpPr/>
      </dsp:nvSpPr>
      <dsp:spPr>
        <a:xfrm>
          <a:off x="6464513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C6D2B1A-A38D-4654-B41E-651010449319}">
      <dsp:nvSpPr>
        <dsp:cNvPr id="0" name=""/>
        <dsp:cNvSpPr/>
      </dsp:nvSpPr>
      <dsp:spPr>
        <a:xfrm>
          <a:off x="6843236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mbda (and possibly API gateway)</a:t>
          </a:r>
        </a:p>
      </dsp:txBody>
      <dsp:txXfrm>
        <a:off x="6843236" y="2412206"/>
        <a:ext cx="2061650" cy="1428026"/>
      </dsp:txXfrm>
    </dsp:sp>
    <dsp:sp modelId="{3FECDF7A-6F6D-4F5C-A376-6813A42E5DCD}">
      <dsp:nvSpPr>
        <dsp:cNvPr id="0" name=""/>
        <dsp:cNvSpPr/>
      </dsp:nvSpPr>
      <dsp:spPr>
        <a:xfrm>
          <a:off x="6843236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3:30 – 15:00</a:t>
          </a:r>
        </a:p>
      </dsp:txBody>
      <dsp:txXfrm>
        <a:off x="6843236" y="3840232"/>
        <a:ext cx="2061650" cy="501738"/>
      </dsp:txXfrm>
    </dsp:sp>
    <dsp:sp modelId="{13FF83DE-76E7-488C-ACBD-6AA20FB394EF}">
      <dsp:nvSpPr>
        <dsp:cNvPr id="0" name=""/>
        <dsp:cNvSpPr/>
      </dsp:nvSpPr>
      <dsp:spPr>
        <a:xfrm>
          <a:off x="6598899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2D96E-D8BC-4017-AEDB-336A1B0BF928}">
      <dsp:nvSpPr>
        <dsp:cNvPr id="0" name=""/>
        <dsp:cNvSpPr/>
      </dsp:nvSpPr>
      <dsp:spPr>
        <a:xfrm>
          <a:off x="6561450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FB80C96-812E-40FD-B857-907A151A3F25}">
      <dsp:nvSpPr>
        <dsp:cNvPr id="0" name=""/>
        <dsp:cNvSpPr/>
      </dsp:nvSpPr>
      <dsp:spPr>
        <a:xfrm rot="8100000">
          <a:off x="7696259" y="560538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141D117-12E1-4F14-8DC0-7CCBF20452F5}">
      <dsp:nvSpPr>
        <dsp:cNvPr id="0" name=""/>
        <dsp:cNvSpPr/>
      </dsp:nvSpPr>
      <dsp:spPr>
        <a:xfrm>
          <a:off x="7734646" y="598925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93B18E-6175-4317-85D8-AB17270A56B0}">
      <dsp:nvSpPr>
        <dsp:cNvPr id="0" name=""/>
        <dsp:cNvSpPr/>
      </dsp:nvSpPr>
      <dsp:spPr>
        <a:xfrm>
          <a:off x="8113368" y="984180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verview of further AWS services</a:t>
          </a:r>
        </a:p>
      </dsp:txBody>
      <dsp:txXfrm>
        <a:off x="8113368" y="984180"/>
        <a:ext cx="2061650" cy="1428026"/>
      </dsp:txXfrm>
    </dsp:sp>
    <dsp:sp modelId="{8CA6550F-66C7-4298-A593-83DA97436E96}">
      <dsp:nvSpPr>
        <dsp:cNvPr id="0" name=""/>
        <dsp:cNvSpPr/>
      </dsp:nvSpPr>
      <dsp:spPr>
        <a:xfrm>
          <a:off x="8113368" y="482441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15 – 15:30</a:t>
          </a:r>
        </a:p>
      </dsp:txBody>
      <dsp:txXfrm>
        <a:off x="8113368" y="482441"/>
        <a:ext cx="2061650" cy="501738"/>
      </dsp:txXfrm>
    </dsp:sp>
    <dsp:sp modelId="{A3B3FACD-0F5C-4C70-B8B3-9765C3BF1891}">
      <dsp:nvSpPr>
        <dsp:cNvPr id="0" name=""/>
        <dsp:cNvSpPr/>
      </dsp:nvSpPr>
      <dsp:spPr>
        <a:xfrm>
          <a:off x="7869031" y="984180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C903AD-B91A-4FA1-BFCD-998DBD4B5867}">
      <dsp:nvSpPr>
        <dsp:cNvPr id="0" name=""/>
        <dsp:cNvSpPr/>
      </dsp:nvSpPr>
      <dsp:spPr>
        <a:xfrm>
          <a:off x="7831583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B3DC42F-8EE3-48F8-A1BA-B1253894B53E}">
      <dsp:nvSpPr>
        <dsp:cNvPr id="0" name=""/>
        <dsp:cNvSpPr/>
      </dsp:nvSpPr>
      <dsp:spPr>
        <a:xfrm rot="18900000">
          <a:off x="8966392" y="3918329"/>
          <a:ext cx="345544" cy="345544"/>
        </a:xfrm>
        <a:prstGeom prst="teardrop">
          <a:avLst>
            <a:gd name="adj" fmla="val 115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2895D17-D615-47C3-8069-B4555F769CF3}">
      <dsp:nvSpPr>
        <dsp:cNvPr id="0" name=""/>
        <dsp:cNvSpPr/>
      </dsp:nvSpPr>
      <dsp:spPr>
        <a:xfrm>
          <a:off x="9004779" y="3956716"/>
          <a:ext cx="268770" cy="268770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EB940-4574-4C17-BBA2-DA174524E1D3}">
      <dsp:nvSpPr>
        <dsp:cNvPr id="0" name=""/>
        <dsp:cNvSpPr/>
      </dsp:nvSpPr>
      <dsp:spPr>
        <a:xfrm>
          <a:off x="9383501" y="2412206"/>
          <a:ext cx="2061650" cy="14280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ummary and feedback</a:t>
          </a:r>
        </a:p>
      </dsp:txBody>
      <dsp:txXfrm>
        <a:off x="9383501" y="2412206"/>
        <a:ext cx="2061650" cy="1428026"/>
      </dsp:txXfrm>
    </dsp:sp>
    <dsp:sp modelId="{00F72544-0650-472A-9D53-F35F00F53BF5}">
      <dsp:nvSpPr>
        <dsp:cNvPr id="0" name=""/>
        <dsp:cNvSpPr/>
      </dsp:nvSpPr>
      <dsp:spPr>
        <a:xfrm>
          <a:off x="9383501" y="3840232"/>
          <a:ext cx="2061650" cy="501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15:30 – 16:00</a:t>
          </a:r>
        </a:p>
      </dsp:txBody>
      <dsp:txXfrm>
        <a:off x="9383501" y="3840232"/>
        <a:ext cx="2061650" cy="501738"/>
      </dsp:txXfrm>
    </dsp:sp>
    <dsp:sp modelId="{12D6D719-982D-47B7-86E1-42E7F182918D}">
      <dsp:nvSpPr>
        <dsp:cNvPr id="0" name=""/>
        <dsp:cNvSpPr/>
      </dsp:nvSpPr>
      <dsp:spPr>
        <a:xfrm>
          <a:off x="9139164" y="2412206"/>
          <a:ext cx="0" cy="14280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118BA-C8CE-4E1E-9BD2-A602B5C2A75E}">
      <dsp:nvSpPr>
        <dsp:cNvPr id="0" name=""/>
        <dsp:cNvSpPr/>
      </dsp:nvSpPr>
      <dsp:spPr>
        <a:xfrm>
          <a:off x="9101716" y="2367049"/>
          <a:ext cx="87961" cy="90313"/>
        </a:xfrm>
        <a:prstGeom prst="ellipse">
          <a:avLst/>
        </a:prstGeom>
        <a:gradFill rotWithShape="0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87C71A-58F0-45ED-A413-A81D731C9E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F64736-4490-41E5-B8D0-CC0B16AA5B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11D644-C5F6-4389-814D-7B11F6EE30B8}" type="datetimeFigureOut">
              <a:rPr lang="en-US" smtClean="0">
                <a:solidFill>
                  <a:schemeClr val="tx2"/>
                </a:solidFill>
              </a:rPr>
              <a:t>11/29/2023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9F4704-B844-4B30-8232-A066958C3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8174B-A722-4D31-836F-28709BEFB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360D7-C980-43CF-BF4A-86160FC365E0}" type="slidenum">
              <a:rPr lang="en-US" smtClean="0">
                <a:solidFill>
                  <a:schemeClr val="tx2"/>
                </a:solidFill>
              </a:rPr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26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58F5D356-0438-4495-B283-C41E12FE4BD0}" type="datetimeFigureOut">
              <a:rPr lang="en-US" smtClean="0"/>
              <a:pPr/>
              <a:t>11/2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0"/>
              </a:spcBef>
              <a:buFontTx/>
              <a:buNone/>
            </a:pPr>
            <a:r>
              <a:rPr lang="en-US" dirty="0"/>
              <a:t>Click to edit Master text styles</a:t>
            </a:r>
          </a:p>
          <a:p>
            <a:pPr lvl="1" algn="l" defTabSz="914400" rtl="0" eaLnBrk="1" latinLnBrk="0" hangingPunct="1">
              <a:buClr>
                <a:schemeClr val="accent1"/>
              </a:buClr>
            </a:pPr>
            <a:r>
              <a:rPr lang="en-US" dirty="0"/>
              <a:t>Second level</a:t>
            </a:r>
          </a:p>
          <a:p>
            <a:pPr lvl="2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Third level</a:t>
            </a:r>
          </a:p>
          <a:p>
            <a:pPr lvl="3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ourth level</a:t>
            </a:r>
          </a:p>
          <a:p>
            <a:pPr lvl="4" algn="l" defTabSz="914400" rtl="0" eaLnBrk="1" latinLnBrk="0" hangingPunct="1">
              <a:buFont typeface="Roboto" panose="02000000000000000000" pitchFamily="2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  <a:latin typeface="Roboto" panose="02000000000000000000" pitchFamily="2" charset="0"/>
              </a:defRPr>
            </a:lvl1pPr>
          </a:lstStyle>
          <a:p>
            <a:fld id="{2081FCD0-0B3F-4662-A1E4-AB7FCE2F39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0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400" kern="1200" dirty="0">
        <a:solidFill>
          <a:schemeClr val="tx2"/>
        </a:solidFill>
        <a:latin typeface="+mn-lt"/>
        <a:ea typeface="+mn-ea"/>
        <a:cs typeface="+mn-cs"/>
      </a:defRPr>
    </a:lvl1pPr>
    <a:lvl2pPr marL="216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2pPr>
    <a:lvl3pPr marL="432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3pPr>
    <a:lvl4pPr marL="648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4pPr>
    <a:lvl5pPr marL="864000" indent="-216000">
      <a:lnSpc>
        <a:spcPct val="90000"/>
      </a:lnSpc>
      <a:spcBef>
        <a:spcPts val="600"/>
      </a:spcBef>
      <a:buFont typeface="Wingdings" panose="05000000000000000000" pitchFamily="2" charset="2"/>
      <a:buChar char="§"/>
      <a:defRPr lang="en-US" sz="1400" kern="1200" dirty="0">
        <a:solidFill>
          <a:schemeClr val="tx2"/>
        </a:solidFill>
        <a:latin typeface="+mn-lt"/>
        <a:ea typeface="+mn-ea"/>
        <a:cs typeface="+mn-cs"/>
      </a:defRPr>
    </a:lvl5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awslabs/aws-shell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log.awsfundamentals.com/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26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ynamoDB uses an internal hash function to evenly distribute data items across partitions based on their partition key.</a:t>
            </a:r>
          </a:p>
          <a:p>
            <a:r>
              <a:rPr lang="en-US" dirty="0"/>
              <a:t>The output from the hash function determines the partition in DynamoDB</a:t>
            </a:r>
            <a:r>
              <a:rPr lang="de-DE" dirty="0"/>
              <a:t>‘s </a:t>
            </a:r>
            <a:r>
              <a:rPr lang="en-US" dirty="0"/>
              <a:t>internal physical storage, in which the item is stored.</a:t>
            </a:r>
          </a:p>
          <a:p>
            <a:endParaRPr lang="en-US" dirty="0"/>
          </a:p>
          <a:p>
            <a:r>
              <a:rPr lang="en-US" dirty="0"/>
              <a:t>DynamoDB stores items with the same partition key physically close together sorted by the sort key.</a:t>
            </a:r>
          </a:p>
          <a:p>
            <a:r>
              <a:rPr lang="en-US" dirty="0"/>
              <a:t>Therefore, the partition key of an item is also known as its hash attribute, whereas the sort key of an item is also known as its range attribute. </a:t>
            </a:r>
          </a:p>
          <a:p>
            <a:endParaRPr lang="en-US" dirty="0"/>
          </a:p>
          <a:p>
            <a:r>
              <a:rPr lang="en-US" dirty="0"/>
              <a:t>Advanced topic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tch </a:t>
            </a:r>
            <a:r>
              <a:rPr lang="de-DE" b="0" dirty="0" err="1"/>
              <a:t>operation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Atomic</a:t>
            </a:r>
            <a:r>
              <a:rPr lang="de-DE" b="0" dirty="0"/>
              <a:t> Upd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/>
              <a:t>Backu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="0" dirty="0" err="1"/>
              <a:t>DynamoDB</a:t>
            </a:r>
            <a:r>
              <a:rPr lang="de-DE" b="0" dirty="0"/>
              <a:t> Streams -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modification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de-DE" b="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991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836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87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43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mbda natively </a:t>
            </a:r>
            <a:r>
              <a:rPr lang="en-US" b="0" dirty="0"/>
              <a:t>supports Java, Go, PowerShell, Node.js, C#, Python, and Rub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52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506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656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The 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omain Name System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 (</a:t>
            </a:r>
            <a:r>
              <a:rPr lang="en-US" b="0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DNS</a:t>
            </a:r>
            <a:r>
              <a:rPr lang="en-US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) is the phonebook of the Intern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40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671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240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fter presenting yourself, let the participant also present themselves with a focus on their motivation and technical background.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400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6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76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6244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22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860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Availability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Data centers are buildings within an availability zone where the physical infrastructure resides.</a:t>
            </a:r>
          </a:p>
          <a:p>
            <a:r>
              <a:rPr lang="en-US" sz="1400" dirty="0"/>
              <a:t>If a disaster hits an availability zone, other availability zones in the same region will keep working without interruption.</a:t>
            </a:r>
          </a:p>
          <a:p>
            <a:endParaRPr lang="en-US" sz="1400" dirty="0"/>
          </a:p>
          <a:p>
            <a:r>
              <a:rPr lang="en-US" sz="1400" dirty="0"/>
              <a:t>Virtual Private Clou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VPCs enable the logical separation of resources so that every customer can only control their 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 useful analogy to the cloud split into VPCs would be a building split into apartments that are rented to tena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95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400" dirty="0"/>
              <a:t>A user that wants to perform an </a:t>
            </a: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operation requiring </a:t>
            </a:r>
            <a:r>
              <a:rPr lang="en-US" sz="1800" kern="1200" dirty="0" err="1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uthorisation</a:t>
            </a:r>
            <a:r>
              <a:rPr lang="en-US" sz="1400" dirty="0"/>
              <a:t> can either be assigned the needed access policy directly, through a user group or assume a role, to which the needed access policy is attached.</a:t>
            </a:r>
          </a:p>
          <a:p>
            <a:pPr algn="l"/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l"/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Advanced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dirty="0" err="1">
                <a:latin typeface="Roboto" panose="02000000000000000000" pitchFamily="2" charset="0"/>
                <a:ea typeface="Roboto" panose="02000000000000000000" pitchFamily="2" charset="0"/>
              </a:rPr>
              <a:t>topics</a:t>
            </a:r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: </a:t>
            </a:r>
            <a:r>
              <a:rPr lang="de-DE" sz="1800" b="0" i="0" u="none" strike="noStrike" baseline="0" dirty="0" err="1">
                <a:latin typeface="Myriad Pro SemiCond"/>
              </a:rPr>
              <a:t>Temporary</a:t>
            </a:r>
            <a:r>
              <a:rPr lang="de-DE" sz="1800" b="0" i="0" u="none" strike="noStrike" baseline="0" dirty="0">
                <a:latin typeface="Myriad Pro SemiCond"/>
              </a:rPr>
              <a:t> Security </a:t>
            </a:r>
            <a:r>
              <a:rPr lang="de-DE" sz="1800" b="0" i="0" u="none" strike="noStrike" baseline="0" dirty="0" err="1">
                <a:latin typeface="Myriad Pro SemiCond"/>
              </a:rPr>
              <a:t>Credentials</a:t>
            </a:r>
            <a:r>
              <a:rPr lang="de-DE" sz="1800" b="1" i="0" u="none" strike="noStrike" baseline="0" dirty="0">
                <a:latin typeface="Myriad Pro SemiCond"/>
              </a:rPr>
              <a:t>, </a:t>
            </a:r>
            <a:r>
              <a:rPr lang="en-US" sz="1800" b="0" i="0" u="none" strike="noStrike" baseline="0" dirty="0">
                <a:latin typeface="Adobe Garamond Pro"/>
              </a:rPr>
              <a:t>AWS Security Token Service (STS)</a:t>
            </a:r>
            <a:endParaRPr lang="de-DE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5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400" dirty="0"/>
              <a:t>AWS </a:t>
            </a:r>
            <a:r>
              <a:rPr lang="de-DE" sz="1400" dirty="0" err="1"/>
              <a:t>CloudShell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uto-</a:t>
            </a:r>
            <a:r>
              <a:rPr lang="de-DE" sz="1400" dirty="0" err="1"/>
              <a:t>completion</a:t>
            </a:r>
            <a:br>
              <a:rPr lang="de-DE" sz="1400" dirty="0"/>
            </a:br>
            <a:r>
              <a:rPr lang="de-DE" sz="1400" dirty="0">
                <a:hlinkClick r:id="rId3"/>
              </a:rPr>
              <a:t>https://github.com/awslabs/aws-shell</a:t>
            </a:r>
            <a:endParaRPr lang="de-DE" sz="1400" dirty="0"/>
          </a:p>
          <a:p>
            <a:endParaRPr lang="de-DE" sz="1400" dirty="0"/>
          </a:p>
          <a:p>
            <a:r>
              <a:rPr lang="en-US" sz="1400" dirty="0"/>
              <a:t>AWS </a:t>
            </a:r>
            <a:r>
              <a:rPr lang="en-US" sz="1400" dirty="0" err="1"/>
              <a:t>cheatsheets</a:t>
            </a:r>
            <a:r>
              <a:rPr lang="en-US" sz="1400" dirty="0"/>
              <a:t> and more</a:t>
            </a:r>
          </a:p>
          <a:p>
            <a:r>
              <a:rPr lang="en-US" sz="1400" dirty="0">
                <a:hlinkClick r:id="rId4"/>
              </a:rPr>
              <a:t>https://blog.awsfundamentals.com/</a:t>
            </a:r>
            <a:endParaRPr lang="en-US" sz="14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455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087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The difference between a prefix and a folder is the significance of the "/" character. </a:t>
            </a:r>
          </a:p>
          <a:p>
            <a:r>
              <a:rPr lang="en-US" dirty="0"/>
              <a:t>For folders, the "/" character signifies a subfolder or object name. For prefixes, "/" is just another character. </a:t>
            </a:r>
          </a:p>
          <a:p>
            <a:r>
              <a:rPr lang="en-US" dirty="0"/>
              <a:t>The "/" does not indicate a partition placement. Amazon S3 console supports the folder concept only as a means of grouping (and displaying) objects.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topic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torage Classes, Life Cycle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Version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268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81FCD0-0B3F-4662-A1E4-AB7FCE2F39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2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nnovation Curve">
            <a:extLst>
              <a:ext uri="{FF2B5EF4-FFF2-40B4-BE49-F238E27FC236}">
                <a16:creationId xmlns:a16="http://schemas.microsoft.com/office/drawing/2014/main" id="{9211F747-506E-5ED4-9B68-EE6B3F99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4748"/>
            <a:ext cx="6872748" cy="687274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506BD0E-4DCD-8BA9-2037-DE975A1F09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84346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D68B773-8219-9567-613E-7A2F2D4F6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84346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9B553D8-6E2B-127F-58DE-5165236A2DF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453B208-9097-2E2C-EC03-BD8A676700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fobox">
            <a:extLst>
              <a:ext uri="{FF2B5EF4-FFF2-40B4-BE49-F238E27FC236}">
                <a16:creationId xmlns:a16="http://schemas.microsoft.com/office/drawing/2014/main" id="{A9C6AF59-6EED-3416-511A-B314E0EE63F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07CD756B-D053-7A46-EC8E-FF1D6BF1F7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8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082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620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Light with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4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TT DATA Global Logo" descr="NTT DATA Global Logo">
            <a:extLst>
              <a:ext uri="{FF2B5EF4-FFF2-40B4-BE49-F238E27FC236}">
                <a16:creationId xmlns:a16="http://schemas.microsoft.com/office/drawing/2014/main" id="{1EBC00AC-526A-BABC-83AE-F67621E1E0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2960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7B0343A7-692E-9A5C-000C-09C7000C25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97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8043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B0FF4D30-C4DE-78F2-3D48-354836D3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106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9629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338956" y="6563358"/>
            <a:ext cx="35248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28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F41C78E2-9EE1-603A-2322-408F1E0B72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3091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s Thre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46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593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mart Navy SemiTrans Overlay">
            <a:extLst>
              <a:ext uri="{FF2B5EF4-FFF2-40B4-BE49-F238E27FC236}">
                <a16:creationId xmlns:a16="http://schemas.microsoft.com/office/drawing/2014/main" id="{AF78DDA9-31A8-60A3-A960-43C5D58947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2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6" name="NTT DATA Global Logo" descr="NTT DATA Global Logo">
            <a:extLst>
              <a:ext uri="{FF2B5EF4-FFF2-40B4-BE49-F238E27FC236}">
                <a16:creationId xmlns:a16="http://schemas.microsoft.com/office/drawing/2014/main" id="{63E40692-6E2C-D257-5733-3F906BFAD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0003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Whi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01F40004-0B55-0534-B49E-3160E9FA2E1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1969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with Pictur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98CC4E28-4615-54DE-9A23-19AE8504C32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FB17ABEB-CE11-6DFE-1EDF-82662ED8C9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169586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0294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113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6">
            <a:extLst>
              <a:ext uri="{FF2B5EF4-FFF2-40B4-BE49-F238E27FC236}">
                <a16:creationId xmlns:a16="http://schemas.microsoft.com/office/drawing/2014/main" id="{8E54CF47-5670-1E36-A01C-CE6BD5FD4E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773" y="2431973"/>
            <a:ext cx="3740227" cy="374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9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218376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AE44EF5E-6648-1398-B4E7-717D749EE9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575" y="2447060"/>
            <a:ext cx="3718800" cy="3718800"/>
          </a:xfrm>
          <a:prstGeom prst="rect">
            <a:avLst/>
          </a:prstGeom>
        </p:spPr>
      </p:pic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C74CB7FF-BF38-583F-EB84-775D76F699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1475" y="2447060"/>
            <a:ext cx="3718800" cy="3718800"/>
          </a:xfrm>
          <a:custGeom>
            <a:avLst/>
            <a:gdLst>
              <a:gd name="connsiteX0" fmla="*/ 1704548 w 5267271"/>
              <a:gd name="connsiteY0" fmla="*/ 0 h 5272719"/>
              <a:gd name="connsiteX1" fmla="*/ 3527745 w 5267271"/>
              <a:gd name="connsiteY1" fmla="*/ 1774521 h 5272719"/>
              <a:gd name="connsiteX2" fmla="*/ 5267271 w 5267271"/>
              <a:gd name="connsiteY2" fmla="*/ 5269498 h 5272719"/>
              <a:gd name="connsiteX3" fmla="*/ 3509088 w 5267271"/>
              <a:gd name="connsiteY3" fmla="*/ 5269044 h 5272719"/>
              <a:gd name="connsiteX4" fmla="*/ 1794302 w 5267271"/>
              <a:gd name="connsiteY4" fmla="*/ 1858626 h 5272719"/>
              <a:gd name="connsiteX5" fmla="*/ 1794667 w 5267271"/>
              <a:gd name="connsiteY5" fmla="*/ 5270472 h 5272719"/>
              <a:gd name="connsiteX6" fmla="*/ 0 w 5267271"/>
              <a:gd name="connsiteY6" fmla="*/ 5272719 h 5272719"/>
              <a:gd name="connsiteX7" fmla="*/ 3384 w 5267271"/>
              <a:gd name="connsiteY7" fmla="*/ 1714773 h 5272719"/>
              <a:gd name="connsiteX8" fmla="*/ 569360 w 5267271"/>
              <a:gd name="connsiteY8" fmla="*/ 333790 h 5272719"/>
              <a:gd name="connsiteX9" fmla="*/ 1704548 w 5267271"/>
              <a:gd name="connsiteY9" fmla="*/ 0 h 527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7271" h="5272719">
                <a:moveTo>
                  <a:pt x="1704548" y="0"/>
                </a:moveTo>
                <a:cubicBezTo>
                  <a:pt x="2442328" y="19929"/>
                  <a:pt x="2925708" y="438914"/>
                  <a:pt x="3527745" y="1774521"/>
                </a:cubicBezTo>
                <a:lnTo>
                  <a:pt x="5267271" y="5269498"/>
                </a:lnTo>
                <a:lnTo>
                  <a:pt x="3509088" y="5269044"/>
                </a:lnTo>
                <a:cubicBezTo>
                  <a:pt x="2932089" y="4085847"/>
                  <a:pt x="2376159" y="3052885"/>
                  <a:pt x="1794302" y="1858626"/>
                </a:cubicBezTo>
                <a:cubicBezTo>
                  <a:pt x="1800510" y="2806405"/>
                  <a:pt x="1797959" y="3550976"/>
                  <a:pt x="1794667" y="5270472"/>
                </a:cubicBezTo>
                <a:lnTo>
                  <a:pt x="0" y="5272719"/>
                </a:lnTo>
                <a:cubicBezTo>
                  <a:pt x="6041" y="3933998"/>
                  <a:pt x="-2660" y="3106972"/>
                  <a:pt x="3384" y="1714773"/>
                </a:cubicBezTo>
                <a:cubicBezTo>
                  <a:pt x="20552" y="931022"/>
                  <a:pt x="285832" y="562108"/>
                  <a:pt x="569360" y="333790"/>
                </a:cubicBezTo>
                <a:cubicBezTo>
                  <a:pt x="852888" y="105472"/>
                  <a:pt x="1272212" y="9538"/>
                  <a:pt x="1704548" y="0"/>
                </a:cubicBezTo>
                <a:close/>
              </a:path>
            </a:pathLst>
          </a:custGeom>
          <a:solidFill>
            <a:schemeClr val="accent6"/>
          </a:solidFill>
          <a:ln w="12700">
            <a:noFill/>
          </a:ln>
          <a:effectLst/>
        </p:spPr>
        <p:txBody>
          <a:bodyPr wrap="none" lIns="0" tIns="1371600" rIns="0" anchor="t"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189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Ful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noProof="0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1BBD22-02FF-5EAB-ABA3-3C0BB39602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E9A5FE8-62E3-0D2E-834A-D1F1B8269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A6808F4F-EA69-F71A-723C-E607F81879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CDC6CD3E-31EA-EA2F-BE3B-37D4E6526A1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566C0A6-4FFE-882A-7F2D-B9B9A23AB5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479393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FACCEEE-5469-CC54-C90B-C9C1BF3F2B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479393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3" name="Innovationcurve">
            <a:extLst>
              <a:ext uri="{FF2B5EF4-FFF2-40B4-BE49-F238E27FC236}">
                <a16:creationId xmlns:a16="http://schemas.microsoft.com/office/drawing/2014/main" id="{B4C4DC5B-BB7A-3ED3-9A1D-E1CF1BB3B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66400" y="0"/>
            <a:ext cx="6825600" cy="6858000"/>
          </a:xfrm>
          <a:prstGeom prst="rect">
            <a:avLst/>
          </a:prstGeom>
          <a:blipFill>
            <a:blip r:embed="rId3"/>
            <a:srcRect/>
            <a:stretch>
              <a:fillRect l="1" t="23" r="-227" b="23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917070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, Partial Innovation Cur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12179AF-A82A-2C38-AA6E-ADD8AE770B1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69904B-F3B0-9924-1277-D5E10CC8F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1CC0D1FB-3B96-6150-0982-63EA4CD56D4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71475" y="885411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3" name="NTT DATA Global Logo" descr="NTT DATA Global Logo">
            <a:extLst>
              <a:ext uri="{FF2B5EF4-FFF2-40B4-BE49-F238E27FC236}">
                <a16:creationId xmlns:a16="http://schemas.microsoft.com/office/drawing/2014/main" id="{F1A70F1C-0C1D-4983-5A07-15932C3427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797992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797992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Innovationcurve">
            <a:extLst>
              <a:ext uri="{FF2B5EF4-FFF2-40B4-BE49-F238E27FC236}">
                <a16:creationId xmlns:a16="http://schemas.microsoft.com/office/drawing/2014/main" id="{4F36A33C-FAA3-F6C8-F22D-B227F70722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41600" y="0"/>
            <a:ext cx="4550400" cy="6858000"/>
          </a:xfrm>
          <a:prstGeom prst="rect">
            <a:avLst/>
          </a:prstGeom>
          <a:blipFill>
            <a:blip r:embed="rId3"/>
            <a:stretch>
              <a:fillRect l="-1" r="-155"/>
            </a:stretch>
          </a:blipFill>
        </p:spPr>
        <p:txBody>
          <a:bodyPr>
            <a:noAutofit/>
          </a:bodyPr>
          <a:lstStyle>
            <a:lvl1pPr>
              <a:defRPr sz="200"/>
            </a:lvl1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87491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Full Im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art Navy SemiTrans Overlay">
            <a:extLst>
              <a:ext uri="{FF2B5EF4-FFF2-40B4-BE49-F238E27FC236}">
                <a16:creationId xmlns:a16="http://schemas.microsoft.com/office/drawing/2014/main" id="{39BA9756-44A4-AC93-1405-84B020B6F4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70F26">
              <a:alpha val="57255"/>
            </a:srgbClr>
          </a:solidFill>
        </p:spPr>
        <p:txBody>
          <a:bodyPr vert="horz" lIns="0" tIns="0" rIns="0" bIns="0" rtlCol="0">
            <a:noAutofit/>
          </a:bodyPr>
          <a:lstStyle>
            <a:lvl3pPr>
              <a:defRPr lang="en-US" dirty="0">
                <a:noFill/>
              </a:defRPr>
            </a:lvl3pPr>
          </a:lstStyle>
          <a:p>
            <a:pPr marL="216000" lvl="2" indent="0">
              <a:buNone/>
            </a:pPr>
            <a:r>
              <a:rPr lang="en-US" dirty="0"/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C858A80-3045-093E-B563-A7492ACE92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7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E6CB7E-3B40-11A3-1BAD-6A73DF9D83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7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F38E4A-7B13-70A1-52C6-61A780336E8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3B868D7-8467-2439-DEEF-BBA9DFE90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3" name="Infobox">
            <a:extLst>
              <a:ext uri="{FF2B5EF4-FFF2-40B4-BE49-F238E27FC236}">
                <a16:creationId xmlns:a16="http://schemas.microsoft.com/office/drawing/2014/main" id="{60ABE840-6E2F-413E-A4F2-D50BE7A3C8B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1" name="NTT DATA Global Logo" descr="NTT DATA Global Logo">
            <a:extLst>
              <a:ext uri="{FF2B5EF4-FFF2-40B4-BE49-F238E27FC236}">
                <a16:creationId xmlns:a16="http://schemas.microsoft.com/office/drawing/2014/main" id="{A2A24C7A-90C2-A7EA-697B-7A559561F6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Cover Photo Placeholder">
            <a:extLst>
              <a:ext uri="{FF2B5EF4-FFF2-40B4-BE49-F238E27FC236}">
                <a16:creationId xmlns:a16="http://schemas.microsoft.com/office/drawing/2014/main" id="{47AACDBA-727E-B7AC-B9F8-A809F3406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</p:spTree>
    <p:extLst>
      <p:ext uri="{BB962C8B-B14F-4D97-AF65-F5344CB8AC3E}">
        <p14:creationId xmlns:p14="http://schemas.microsoft.com/office/powerpoint/2010/main" val="2479935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Dark_Image Bottom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 Navy SemiTrans Overlay">
            <a:extLst>
              <a:ext uri="{FF2B5EF4-FFF2-40B4-BE49-F238E27FC236}">
                <a16:creationId xmlns:a16="http://schemas.microsoft.com/office/drawing/2014/main" id="{814008A9-48D1-A825-2133-305473A22B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/>
              <a:t> 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96604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31855" y="3147301"/>
            <a:ext cx="788669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71690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Innovationcurve">
            <a:extLst>
              <a:ext uri="{FF2B5EF4-FFF2-40B4-BE49-F238E27FC236}">
                <a16:creationId xmlns:a16="http://schemas.microsoft.com/office/drawing/2014/main" id="{7A6AA644-177D-9E4C-8A3F-250C66632B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7800" y="3733800"/>
            <a:ext cx="2752725" cy="2743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8" name="Infobox">
            <a:extLst>
              <a:ext uri="{FF2B5EF4-FFF2-40B4-BE49-F238E27FC236}">
                <a16:creationId xmlns:a16="http://schemas.microsoft.com/office/drawing/2014/main" id="{56B3E0DC-CFF6-D134-CAF5-A5425EB6CB8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14" name="NTT DATA Global Logo" descr="NTT DATA Global Logo">
            <a:extLst>
              <a:ext uri="{FF2B5EF4-FFF2-40B4-BE49-F238E27FC236}">
                <a16:creationId xmlns:a16="http://schemas.microsoft.com/office/drawing/2014/main" id="{94BFDE7A-6BFD-69BD-47EF-32959BB948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1475" y="320040"/>
            <a:ext cx="1959724" cy="40007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2025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22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Partial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nnovation Curve">
            <a:extLst>
              <a:ext uri="{FF2B5EF4-FFF2-40B4-BE49-F238E27FC236}">
                <a16:creationId xmlns:a16="http://schemas.microsoft.com/office/drawing/2014/main" id="{00ADE50C-F63B-648C-9FD0-E0FA384DFD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952" y="0"/>
            <a:ext cx="4602549" cy="687628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2ADFA92-0E48-355A-2DA8-D40523A9A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6969876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B12889-37ED-D704-59B8-7CECF20BCF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6969876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55333B3-E5F2-A1A8-F59F-D7085B34A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9F6DF13-500C-7129-4398-DDCA3991550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71475" y="899720"/>
            <a:ext cx="1958400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00FCC36-8879-E02B-48F4-D31C54AAA16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696BBEF-690F-3F5E-4ABD-464267D3697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794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41424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25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41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Subtit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332399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4" y="1412875"/>
            <a:ext cx="11449049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E5DDFBC-BBD8-FCF3-FDD5-BDAF7615B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475" y="728663"/>
            <a:ext cx="11449050" cy="28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310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729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Blank_Dark with foo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B093E97-7B76-EAE6-8B05-F60EEDCE94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C15EF50-5A96-90F8-F18A-9D8143A4F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379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Fu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CAE21C-42ED-4CFD-A1E1-FE234323E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194300"/>
            <a:ext cx="12192000" cy="16637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/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077599-73C2-4B77-944D-C34B64F408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2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5F7F56A-370B-17D8-1574-704076541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E04D86C-67F3-2898-A9B9-7C78B586F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473574-5E40-4F4B-82BD-ECFABA52E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5AC7748B-57B0-6A46-ED50-8FBD40E607A6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189237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_Picture 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18A9578-38C1-F618-D2D6-E94DBB278B9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6E0CB35-CBF9-AFA5-830C-F4D86F0889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5340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7475468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NTT DATA Global Logo" descr="NTT DATA Global Logo">
            <a:extLst>
              <a:ext uri="{FF2B5EF4-FFF2-40B4-BE49-F238E27FC236}">
                <a16:creationId xmlns:a16="http://schemas.microsoft.com/office/drawing/2014/main" id="{E3C760B8-DB89-2960-48EE-7551EFCFDEA7}"/>
              </a:ext>
            </a:extLst>
          </p:cNvPr>
          <p:cNvSpPr txBox="1">
            <a:spLocks noChangeAspect="1"/>
          </p:cNvSpPr>
          <p:nvPr userDrawn="1"/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800" kern="1200">
                <a:noFill/>
                <a:latin typeface="+mn-lt"/>
                <a:ea typeface="+mn-ea"/>
                <a:cs typeface="+mn-cs"/>
              </a:defRPr>
            </a:lvl2pPr>
            <a:lvl3pPr marL="536575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3pPr>
            <a:lvl4pPr marL="804863" indent="-2682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1600" kern="1200">
                <a:noFill/>
                <a:latin typeface="+mn-lt"/>
                <a:ea typeface="+mn-ea"/>
                <a:cs typeface="+mn-cs"/>
              </a:defRPr>
            </a:lvl4pPr>
            <a:lvl5pPr marL="1077913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buFont typeface="Arial" panose="020B0604020202020204" pitchFamily="34" charset="0"/>
              <a:buChar char="»"/>
              <a:defRPr lang="en-US" sz="1600" kern="1200">
                <a:noFill/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Roboto" panose="02000000000000000000" pitchFamily="2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/>
              <a:t> 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10155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Lef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F7A191D-6071-E779-7F2E-34886D0882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86909" y="333375"/>
            <a:ext cx="7233616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A5DF90C5-2F99-EF32-CBEA-23287BDE24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586909" y="6563358"/>
            <a:ext cx="3111831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7771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Bottom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48318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008BF2A-3887-409B-2567-9779543E99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121920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7A8D542-4123-5D52-32A8-5A10FF2E7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F919FBB-9A4E-7FAD-B0F2-5D660792C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685F5729-4D42-77C1-FCC6-A3E027B0D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NTT DATA Global Logo" descr="NTT DATA Global Logo">
            <a:extLst>
              <a:ext uri="{FF2B5EF4-FFF2-40B4-BE49-F238E27FC236}">
                <a16:creationId xmlns:a16="http://schemas.microsoft.com/office/drawing/2014/main" id="{25906057-6ECF-0CCD-A45A-6FE5F783DB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10531725" y="6449437"/>
            <a:ext cx="1288800" cy="26310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>
            <a:noAutofit/>
          </a:bodyPr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2196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_Cover_Light_No Innovation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9CCA6BB-2FF1-1F79-CE75-4214597FB5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0048" y="2438400"/>
            <a:ext cx="11440477" cy="1371600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GB" sz="4400" b="0" i="0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FBC9B23-4469-4B26-BEC9-4E111C2B8F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0048" y="3810000"/>
            <a:ext cx="11440477" cy="353943"/>
          </a:xfrm>
          <a:prstGeom prst="rect">
            <a:avLst/>
          </a:prstGeom>
        </p:spPr>
        <p:txBody>
          <a:bodyPr wrap="square" lIns="0" tIns="45720" rIns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2000" b="0" i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sub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06E1903-FF29-7A88-0707-803367E5E5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898505" y="6563358"/>
            <a:ext cx="92202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E186BE1-1DE6-82D8-B7EF-529F2205B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7460FF67-E88C-345F-912C-69776540AF2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F900288-9276-0271-5B36-DA597F55D4E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004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Picture Thre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99AD32-EACB-40FD-ACFA-9178E8D003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C73D5620-2B8C-49E1-ADF3-9ADE2BF3B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88000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31D45D1-5334-4DD5-8154-DAD52B3C39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75999" y="1412875"/>
            <a:ext cx="4015999" cy="2772000"/>
          </a:xfrm>
          <a:prstGeom prst="rect">
            <a:avLst/>
          </a:prstGeom>
          <a:solidFill>
            <a:schemeClr val="accent6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7792201-616E-4C9D-B2C5-4900CE58E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E3B8E11-1E99-8E14-7DC2-2A5585E8FA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894E80A-235B-AC62-CD2D-E4D54353C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55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Picture Collection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877779" y="3987605"/>
            <a:ext cx="5371355" cy="224968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95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Rounded Rectangl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49318" y="2163386"/>
            <a:ext cx="2484125" cy="2675053"/>
          </a:xfrm>
          <a:prstGeom prst="roundRect">
            <a:avLst>
              <a:gd name="adj" fmla="val 0"/>
            </a:avLst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1475" y="333373"/>
            <a:ext cx="4419959" cy="3547536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4" name="Picture Placeholde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49318" y="2140170"/>
            <a:ext cx="2484124" cy="2680693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3175" cmpd="sng">
            <a:noFill/>
          </a:ln>
          <a:effectLst/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1219170" rtl="0" eaLnBrk="1" latinLnBrk="0" hangingPunct="1">
              <a:lnSpc>
                <a:spcPct val="100000"/>
              </a:lnSpc>
              <a:spcBef>
                <a:spcPts val="192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6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2422522"/>
            <a:ext cx="4419959" cy="145838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902048" y="333375"/>
            <a:ext cx="4347085" cy="3555695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108000" anchor="ctr"/>
          <a:lstStyle>
            <a:lvl1pPr marL="0" indent="0" algn="l">
              <a:lnSpc>
                <a:spcPct val="100000"/>
              </a:lnSpc>
              <a:tabLst/>
              <a:defRPr sz="3200" b="1">
                <a:solidFill>
                  <a:schemeClr val="bg1"/>
                </a:solidFill>
                <a:effectLst/>
                <a:latin typeface="+mn-lt"/>
                <a:cs typeface="Arial"/>
              </a:defRPr>
            </a:lvl1pPr>
            <a:lvl2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effectLst/>
                <a:latin typeface="+mn-lt"/>
                <a:cs typeface="Arial"/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359747" y="333375"/>
            <a:ext cx="2474100" cy="1700963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359747" y="3744196"/>
            <a:ext cx="2474099" cy="107666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987606"/>
            <a:ext cx="3420269" cy="224968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lIns="108000" anchor="ctr"/>
          <a:lstStyle>
            <a:lvl1pPr algn="l">
              <a:lnSpc>
                <a:spcPct val="100000"/>
              </a:lnSpc>
              <a:defRPr sz="2667" b="1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tx2"/>
                </a:solidFill>
              </a:defRPr>
            </a:lvl2pPr>
            <a:lvl3pPr algn="l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77779" y="5399590"/>
            <a:ext cx="5371355" cy="837698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anchor="t" anchorCtr="0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9349318" y="4926695"/>
            <a:ext cx="2471207" cy="1310593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txBody>
          <a:bodyPr anchor="ctr"/>
          <a:lstStyle>
            <a:lvl1pPr algn="ctr">
              <a:lnSpc>
                <a:spcPct val="100000"/>
              </a:lnSpc>
              <a:defRPr sz="2133">
                <a:solidFill>
                  <a:schemeClr val="bg1"/>
                </a:solidFill>
                <a:latin typeface="+mn-lt"/>
                <a:cs typeface="Arial"/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BA9505-91C7-B9FF-4651-787D86C3BED1}"/>
              </a:ext>
            </a:extLst>
          </p:cNvPr>
          <p:cNvSpPr txBox="1"/>
          <p:nvPr userDrawn="1"/>
        </p:nvSpPr>
        <p:spPr>
          <a:xfrm>
            <a:off x="3685309" y="-803564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US" dirty="0" err="1">
              <a:solidFill>
                <a:srgbClr val="FFFFFF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C35B40-A84A-00D6-5FD3-6FD80F61E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C1EFC3-6CA1-181A-9D7F-24D4581B21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417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Future Bl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87ED33-6A4E-4B88-9978-60E9E0EBFC9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F03F05C-59F6-715B-5A33-907AD87C6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03287" y="2880000"/>
            <a:ext cx="5385427" cy="10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26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_Closing Slide Navy Dark with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 Navy SemiTrans Overlay">
            <a:extLst>
              <a:ext uri="{FF2B5EF4-FFF2-40B4-BE49-F238E27FC236}">
                <a16:creationId xmlns:a16="http://schemas.microsoft.com/office/drawing/2014/main" id="{6E4F8208-B33A-86C1-C4BF-6C513A841D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noFill/>
              </a:defRPr>
            </a:lvl2pPr>
            <a:lvl3pPr marL="216000" indent="0">
              <a:buFont typeface="Arial" panose="020B0604020202020204" pitchFamily="34" charset="0"/>
              <a:buNone/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2"/>
            <a:r>
              <a:rPr lang="en-US" dirty="0"/>
              <a:t> 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DCE6D5FB-5128-84ED-8909-686C6A399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0241"/>
          </a:xfrm>
          <a:prstGeom prst="rect">
            <a:avLst/>
          </a:prstGeom>
          <a:noFill/>
        </p:spPr>
        <p:txBody>
          <a:bodyPr tIns="2743200" bIns="0" anchor="ctr"/>
          <a:lstStyle>
            <a:lvl1pPr marL="0" indent="0" algn="ctr">
              <a:buFontTx/>
              <a:buNone/>
              <a:defRPr sz="2400">
                <a:solidFill>
                  <a:schemeClr val="accent5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 Then Reorder: Send to back</a:t>
            </a:r>
          </a:p>
        </p:txBody>
      </p:sp>
      <p:sp>
        <p:nvSpPr>
          <p:cNvPr id="10" name="NTT DATA Global Logo" descr="NTT DATA Global Logo">
            <a:extLst>
              <a:ext uri="{FF2B5EF4-FFF2-40B4-BE49-F238E27FC236}">
                <a16:creationId xmlns:a16="http://schemas.microsoft.com/office/drawing/2014/main" id="{188EBC45-4F1C-E0B0-9BB4-2942DDBDBEA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black">
          <a:xfrm>
            <a:off x="3403200" y="2879266"/>
            <a:ext cx="5385600" cy="109946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0" rIns="0" bIns="0"/>
          <a:lstStyle>
            <a:lvl1pPr>
              <a:defRPr sz="200">
                <a:solidFill>
                  <a:schemeClr val="accent2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3057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286000"/>
            <a:ext cx="7315200" cy="3951288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 Text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CBAA2EA5-06E3-8691-22FA-AE783265C8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38600" cy="6858000"/>
          </a:xfrm>
          <a:prstGeom prst="rect">
            <a:avLst/>
          </a:prstGeom>
          <a:solidFill>
            <a:schemeClr val="accent6"/>
          </a:solidFill>
        </p:spPr>
        <p:txBody>
          <a:bodyPr tIns="274320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E201FA-14DE-26F5-5B59-34540918F7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0" y="5202000"/>
            <a:ext cx="4038600" cy="1656000"/>
          </a:xfrm>
          <a:prstGeom prst="rect">
            <a:avLst/>
          </a:prstGeom>
          <a:gradFill>
            <a:gsLst>
              <a:gs pos="0">
                <a:schemeClr val="accent1"/>
              </a:gs>
              <a:gs pos="80000">
                <a:schemeClr val="accent1">
                  <a:alpha val="0"/>
                </a:schemeClr>
              </a:gs>
            </a:gsLst>
            <a:lin ang="16200000" scaled="1"/>
          </a:gradFill>
        </p:spPr>
        <p:txBody>
          <a:bodyPr vert="horz" wrap="square" lIns="0" tIns="0" rIns="0" bIns="0" rtlCol="0">
            <a:noAutofit/>
          </a:bodyPr>
          <a:lstStyle>
            <a:lvl1pPr>
              <a:defRPr lang="en-US" sz="100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3EC910-66B9-7290-6910-39097643A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777162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28FF710-A250-66BE-1682-899EBECEA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495800" y="6563358"/>
            <a:ext cx="324421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8642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Curve on Righ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">
            <a:extLst>
              <a:ext uri="{FF2B5EF4-FFF2-40B4-BE49-F238E27FC236}">
                <a16:creationId xmlns:a16="http://schemas.microsoft.com/office/drawing/2014/main" id="{597D1B3A-E1F6-AFF4-3A3F-A37A17CBCB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2286000"/>
            <a:ext cx="7315200" cy="38862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sp>
        <p:nvSpPr>
          <p:cNvPr id="15" name="Section Number">
            <a:extLst>
              <a:ext uri="{FF2B5EF4-FFF2-40B4-BE49-F238E27FC236}">
                <a16:creationId xmlns:a16="http://schemas.microsoft.com/office/drawing/2014/main" id="{353938DB-D71F-BCC9-253A-E90421933D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/>
              <a:t>#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7D78CB3-8E2A-426A-73F0-19178ABAA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D19329-B7C0-CE48-A2F3-05D87FD03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nnovationcurve">
            <a:extLst>
              <a:ext uri="{FF2B5EF4-FFF2-40B4-BE49-F238E27FC236}">
                <a16:creationId xmlns:a16="http://schemas.microsoft.com/office/drawing/2014/main" id="{8FAD0C94-F295-1BA4-75E9-C0403855E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40970" y="2281852"/>
            <a:ext cx="3879556" cy="389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21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_Divider_Innovation Curve Image Lef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725B5FD-E0E9-1E4B-5EFE-D46E0910A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2433116"/>
            <a:ext cx="7315200" cy="3739084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Page</a:t>
            </a:r>
          </a:p>
        </p:txBody>
      </p:sp>
      <p:sp>
        <p:nvSpPr>
          <p:cNvPr id="12" name="Section Number">
            <a:extLst>
              <a:ext uri="{FF2B5EF4-FFF2-40B4-BE49-F238E27FC236}">
                <a16:creationId xmlns:a16="http://schemas.microsoft.com/office/drawing/2014/main" id="{4337322C-F1A6-A8D5-2662-80C365ECE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5800" y="685800"/>
            <a:ext cx="7315200" cy="1447800"/>
          </a:xfrm>
          <a:prstGeom prst="rect">
            <a:avLst/>
          </a:prstGeom>
        </p:spPr>
        <p:txBody>
          <a:bodyPr lIns="0" tIns="45720" rIns="0"/>
          <a:lstStyle>
            <a:lvl1pPr>
              <a:defRPr lang="en-US" sz="9600" b="1" dirty="0" smtClean="0">
                <a:solidFill>
                  <a:schemeClr val="accent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noProof="0" dirty="0"/>
              <a:t>#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795E080-1F31-4238-044C-F377C0E25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© 2023 NTT DATA Deutschland SE</a:t>
            </a:r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ACFAEF6-C002-CEF8-D12E-35B10EFF2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Grid">
            <a:extLst>
              <a:ext uri="{FF2B5EF4-FFF2-40B4-BE49-F238E27FC236}">
                <a16:creationId xmlns:a16="http://schemas.microsoft.com/office/drawing/2014/main" id="{7C23E814-83D3-3A4C-E7C1-1CC5AAE3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52" y="2403913"/>
            <a:ext cx="3755940" cy="376771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8" name="Mask">
            <a:extLst>
              <a:ext uri="{FF2B5EF4-FFF2-40B4-BE49-F238E27FC236}">
                <a16:creationId xmlns:a16="http://schemas.microsoft.com/office/drawing/2014/main" id="{6A3F8A03-35AC-7457-3761-25EFCA9E3C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389852" y="2403913"/>
            <a:ext cx="3755940" cy="3767718"/>
          </a:xfrm>
          <a:custGeom>
            <a:avLst/>
            <a:gdLst>
              <a:gd name="connsiteX0" fmla="*/ 1221722 w 3755940"/>
              <a:gd name="connsiteY0" fmla="*/ 0 h 3767718"/>
              <a:gd name="connsiteX1" fmla="*/ 2020606 w 3755940"/>
              <a:gd name="connsiteY1" fmla="*/ 439029 h 3767718"/>
              <a:gd name="connsiteX2" fmla="*/ 2500058 w 3755940"/>
              <a:gd name="connsiteY2" fmla="*/ 1241044 h 3767718"/>
              <a:gd name="connsiteX3" fmla="*/ 3753449 w 3755940"/>
              <a:gd name="connsiteY3" fmla="*/ 3762701 h 3767718"/>
              <a:gd name="connsiteX4" fmla="*/ 3755940 w 3755940"/>
              <a:gd name="connsiteY4" fmla="*/ 3767718 h 3767718"/>
              <a:gd name="connsiteX5" fmla="*/ 2499239 w 3755940"/>
              <a:gd name="connsiteY5" fmla="*/ 3767718 h 3767718"/>
              <a:gd name="connsiteX6" fmla="*/ 2498278 w 3755940"/>
              <a:gd name="connsiteY6" fmla="*/ 3765796 h 3767718"/>
              <a:gd name="connsiteX7" fmla="*/ 1255918 w 3755940"/>
              <a:gd name="connsiteY7" fmla="*/ 1279154 h 3767718"/>
              <a:gd name="connsiteX8" fmla="*/ 1255918 w 3755940"/>
              <a:gd name="connsiteY8" fmla="*/ 3767718 h 3767718"/>
              <a:gd name="connsiteX9" fmla="*/ 1252431 w 3755940"/>
              <a:gd name="connsiteY9" fmla="*/ 3767718 h 3767718"/>
              <a:gd name="connsiteX10" fmla="*/ 0 w 3755940"/>
              <a:gd name="connsiteY10" fmla="*/ 3767718 h 3767718"/>
              <a:gd name="connsiteX11" fmla="*/ 0 w 3755940"/>
              <a:gd name="connsiteY11" fmla="*/ 1264422 h 3767718"/>
              <a:gd name="connsiteX12" fmla="*/ 299364 w 3755940"/>
              <a:gd name="connsiteY12" fmla="*/ 383020 h 3767718"/>
              <a:gd name="connsiteX13" fmla="*/ 1221722 w 3755940"/>
              <a:gd name="connsiteY13" fmla="*/ 0 h 376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55940" h="3767718">
                <a:moveTo>
                  <a:pt x="1221722" y="0"/>
                </a:moveTo>
                <a:cubicBezTo>
                  <a:pt x="1554534" y="0"/>
                  <a:pt x="1814293" y="189446"/>
                  <a:pt x="2020606" y="439029"/>
                </a:cubicBezTo>
                <a:cubicBezTo>
                  <a:pt x="2226883" y="688575"/>
                  <a:pt x="2380212" y="998721"/>
                  <a:pt x="2500058" y="1241044"/>
                </a:cubicBezTo>
                <a:lnTo>
                  <a:pt x="3753449" y="3762701"/>
                </a:lnTo>
                <a:lnTo>
                  <a:pt x="3755940" y="3767718"/>
                </a:lnTo>
                <a:lnTo>
                  <a:pt x="2499239" y="3767718"/>
                </a:lnTo>
                <a:lnTo>
                  <a:pt x="2498278" y="3765796"/>
                </a:lnTo>
                <a:lnTo>
                  <a:pt x="1255918" y="1279154"/>
                </a:lnTo>
                <a:lnTo>
                  <a:pt x="1255918" y="3767718"/>
                </a:lnTo>
                <a:cubicBezTo>
                  <a:pt x="1255918" y="3767718"/>
                  <a:pt x="1252431" y="3767718"/>
                  <a:pt x="1252431" y="3767718"/>
                </a:cubicBezTo>
                <a:lnTo>
                  <a:pt x="0" y="3767718"/>
                </a:lnTo>
                <a:lnTo>
                  <a:pt x="0" y="1264422"/>
                </a:lnTo>
                <a:cubicBezTo>
                  <a:pt x="0" y="932251"/>
                  <a:pt x="97677" y="616163"/>
                  <a:pt x="299364" y="383020"/>
                </a:cubicBezTo>
                <a:cubicBezTo>
                  <a:pt x="501086" y="149842"/>
                  <a:pt x="806677" y="0"/>
                  <a:pt x="122172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 sz="200">
                <a:solidFill>
                  <a:srgbClr val="070F26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228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_Cover_Light_Imag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4C066D7D-0D2A-E525-7A09-B865124FD3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3352800"/>
            <a:ext cx="12192000" cy="3505200"/>
          </a:xfrm>
          <a:prstGeom prst="rect">
            <a:avLst/>
          </a:prstGeom>
          <a:solidFill>
            <a:srgbClr val="050D24">
              <a:alpha val="57647"/>
            </a:srgbClr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 marL="914400" indent="0">
              <a:buNone/>
              <a:defRPr>
                <a:noFill/>
              </a:defRPr>
            </a:lvl3pPr>
            <a:lvl4pPr marL="1371600" indent="0">
              <a:buNone/>
              <a:defRPr>
                <a:noFill/>
              </a:defRPr>
            </a:lvl4pPr>
            <a:lvl5pPr marL="1828800" indent="0">
              <a:buNone/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4ED725C-5701-90B3-92A2-BAE98517DD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52800"/>
            <a:ext cx="12192000" cy="35096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image.</a:t>
            </a:r>
            <a:br>
              <a:rPr lang="en-US" dirty="0"/>
            </a:br>
            <a:r>
              <a:rPr lang="en-US" dirty="0"/>
              <a:t>Then Reorder: Send to back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84AF061-2BD7-B395-13B3-8F8BF41722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2050182"/>
            <a:ext cx="11449049" cy="6096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nter the subtitle text</a:t>
            </a:r>
          </a:p>
        </p:txBody>
      </p:sp>
      <p:sp>
        <p:nvSpPr>
          <p:cNvPr id="7" name="MainTitle">
            <a:extLst>
              <a:ext uri="{FF2B5EF4-FFF2-40B4-BE49-F238E27FC236}">
                <a16:creationId xmlns:a16="http://schemas.microsoft.com/office/drawing/2014/main" id="{6B8D68FD-3EFC-86B8-83A6-942558B1B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412875"/>
            <a:ext cx="11449050" cy="651610"/>
          </a:xfrm>
        </p:spPr>
        <p:txBody>
          <a:bodyPr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Innovationcurve">
            <a:extLst>
              <a:ext uri="{FF2B5EF4-FFF2-40B4-BE49-F238E27FC236}">
                <a16:creationId xmlns:a16="http://schemas.microsoft.com/office/drawing/2014/main" id="{0E296AC8-E4D5-3A7F-3C42-CC289AAB1E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67800" y="3733800"/>
            <a:ext cx="2741663" cy="274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245BFAB-6256-BF35-C9F5-6D558800765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1026140" y="3147301"/>
            <a:ext cx="794384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45B6080-7233-0809-75A8-E904530DE0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3147301"/>
            <a:ext cx="5123498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2" name="Infobox">
            <a:extLst>
              <a:ext uri="{FF2B5EF4-FFF2-40B4-BE49-F238E27FC236}">
                <a16:creationId xmlns:a16="http://schemas.microsoft.com/office/drawing/2014/main" id="{979EC8F5-DC72-37F6-85BB-C3ADC50D2D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936479" y="333376"/>
            <a:ext cx="1884045" cy="395869"/>
          </a:xfrm>
          <a:prstGeom prst="rect">
            <a:avLst/>
          </a:prstGeom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>
                <a:solidFill>
                  <a:srgbClr val="6B6B6B"/>
                </a:solidFill>
              </a:defRPr>
            </a:lvl1pPr>
          </a:lstStyle>
          <a:p>
            <a:pPr lvl="0"/>
            <a:r>
              <a:rPr lang="en-US" noProof="0" dirty="0"/>
              <a:t>Information Type:</a:t>
            </a:r>
            <a:br>
              <a:rPr lang="en-US" noProof="0" dirty="0"/>
            </a:br>
            <a:r>
              <a:rPr lang="en-US" noProof="0" dirty="0"/>
              <a:t>Company:  </a:t>
            </a:r>
            <a:br>
              <a:rPr lang="en-US" noProof="0" dirty="0"/>
            </a:br>
            <a:r>
              <a:rPr lang="en-US" noProof="0" dirty="0"/>
              <a:t>Information Owner: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3955C0C-38C4-366F-0C4D-7A71C122ED7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320040"/>
            <a:ext cx="195994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7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C3BB7C-B4A7-41A4-8C5A-903570B60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9C53063-1F58-BE27-2E94-7E00DE772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1EE05E-1EF3-FA88-09CC-87DB6B581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229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B4CF512-82E1-2689-F640-DDFFDD4CD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9ED1C7-0FF1-008B-4E0C-83259A7B6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06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9A13345-D8EA-438A-8BA9-E88672B7CBE9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6311325" y="1412875"/>
            <a:ext cx="550785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_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55BA-9D9E-490E-B438-6BCC818F8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33375"/>
            <a:ext cx="11449050" cy="79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3CA-EBF0-4324-BDE2-B14D144F1B7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7147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FAE869D-BCA2-8F0B-47CA-6CBB579621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8F0063-4C19-496F-6F87-6795DABB8C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26BC249-E151-BB39-D3D5-813D011EC4DE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4267200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AB7751F-4652-AD3B-A81E-E9DD7E8ECF31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8162925" y="1412875"/>
            <a:ext cx="3657600" cy="482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03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image" Target="../media/image15.svg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rgbClr val="6B6B6B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1DB40E02-E43E-21B5-7D2A-60B35F097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4" name="Object Align" hidden="1">
            <a:extLst>
              <a:ext uri="{FF2B5EF4-FFF2-40B4-BE49-F238E27FC236}">
                <a16:creationId xmlns:a16="http://schemas.microsoft.com/office/drawing/2014/main" id="{2409C08C-6580-A845-A257-7F092F05A48D}"/>
              </a:ext>
            </a:extLst>
          </p:cNvPr>
          <p:cNvGraphicFramePr>
            <a:graphicFrameLocks noGrp="1" noDrilldown="1" noMove="1" noResize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76471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99" imgH="299" progId="TCLayout.ActiveDocument.1">
                  <p:embed/>
                </p:oleObj>
              </mc:Choice>
              <mc:Fallback>
                <p:oleObj name="think-cell Folie" r:id="rId29" imgW="299" imgH="299" progId="TCLayout.ActiveDocument.1">
                  <p:embed/>
                  <p:pic>
                    <p:nvPicPr>
                      <p:cNvPr id="4" name="Object Align" hidden="1">
                        <a:extLst>
                          <a:ext uri="{FF2B5EF4-FFF2-40B4-BE49-F238E27FC236}">
                            <a16:creationId xmlns:a16="http://schemas.microsoft.com/office/drawing/2014/main" id="{2409C08C-6580-A845-A257-7F092F05A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214B053-F1CA-C974-E3B1-394A570264F5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697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76" r:id="rId2"/>
    <p:sldLayoutId id="2147483725" r:id="rId3"/>
    <p:sldLayoutId id="2147483726" r:id="rId4"/>
    <p:sldLayoutId id="2147483775" r:id="rId5"/>
    <p:sldLayoutId id="2147483687" r:id="rId6"/>
    <p:sldLayoutId id="2147483650" r:id="rId7"/>
    <p:sldLayoutId id="2147483698" r:id="rId8"/>
    <p:sldLayoutId id="2147483771" r:id="rId9"/>
    <p:sldLayoutId id="2147483731" r:id="rId10"/>
    <p:sldLayoutId id="2147483773" r:id="rId11"/>
    <p:sldLayoutId id="2147483774" r:id="rId12"/>
    <p:sldLayoutId id="2147483678" r:id="rId13"/>
    <p:sldLayoutId id="2147483777" r:id="rId14"/>
    <p:sldLayoutId id="2147483732" r:id="rId15"/>
    <p:sldLayoutId id="2147483734" r:id="rId16"/>
    <p:sldLayoutId id="2147483765" r:id="rId17"/>
    <p:sldLayoutId id="2147483691" r:id="rId18"/>
    <p:sldLayoutId id="2147483735" r:id="rId19"/>
    <p:sldLayoutId id="2147483679" r:id="rId20"/>
    <p:sldLayoutId id="2147483729" r:id="rId21"/>
    <p:sldLayoutId id="2147483718" r:id="rId22"/>
    <p:sldLayoutId id="2147483737" r:id="rId23"/>
    <p:sldLayoutId id="2147483736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8" pos="7446" userDrawn="1">
          <p15:clr>
            <a:srgbClr val="F26B43"/>
          </p15:clr>
        </p15:guide>
        <p15:guide id="9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74404F-43CD-40C8-B408-4B36050B40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33375"/>
            <a:ext cx="1144905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B7396-CF44-41A3-ABC7-B95299F0C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71475" y="6563358"/>
            <a:ext cx="4852035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© 2023 NTT DATA Deutschland S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03A65-CACD-4E1E-A1C2-FC8F9891C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943600" y="6563358"/>
            <a:ext cx="304800" cy="8890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13CE6DAF-806F-404B-BC68-339BFCB57E5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NTT Global Logo">
            <a:extLst>
              <a:ext uri="{FF2B5EF4-FFF2-40B4-BE49-F238E27FC236}">
                <a16:creationId xmlns:a16="http://schemas.microsoft.com/office/drawing/2014/main" id="{D3B22713-AB91-EF03-7CF0-CCF486815A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31554" y="6449745"/>
            <a:ext cx="1288971" cy="262800"/>
          </a:xfrm>
          <a:prstGeom prst="rect">
            <a:avLst/>
          </a:prstGeom>
        </p:spPr>
      </p:pic>
      <p:graphicFrame>
        <p:nvGraphicFramePr>
          <p:cNvPr id="3" name="Object Align" hidden="1">
            <a:extLst>
              <a:ext uri="{FF2B5EF4-FFF2-40B4-BE49-F238E27FC236}">
                <a16:creationId xmlns:a16="http://schemas.microsoft.com/office/drawing/2014/main" id="{1B3A0C6D-49EF-F306-1DED-9E8A6FD94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59728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299" imgH="299" progId="TCLayout.ActiveDocument.1">
                  <p:embed/>
                </p:oleObj>
              </mc:Choice>
              <mc:Fallback>
                <p:oleObj name="think-cell Folie" r:id="rId27" imgW="299" imgH="299" progId="TCLayout.ActiveDocument.1">
                  <p:embed/>
                  <p:pic>
                    <p:nvPicPr>
                      <p:cNvPr id="3" name="Object Align" hidden="1">
                        <a:extLst>
                          <a:ext uri="{FF2B5EF4-FFF2-40B4-BE49-F238E27FC236}">
                            <a16:creationId xmlns:a16="http://schemas.microsoft.com/office/drawing/2014/main" id="{1B3A0C6D-49EF-F306-1DED-9E8A6FD94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328821C-AA1D-0DC2-DAE3-55DCF15FFBA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9640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67" r:id="rId3"/>
    <p:sldLayoutId id="2147483768" r:id="rId4"/>
    <p:sldLayoutId id="2147483750" r:id="rId5"/>
    <p:sldLayoutId id="2147483751" r:id="rId6"/>
    <p:sldLayoutId id="2147483752" r:id="rId7"/>
    <p:sldLayoutId id="2147483770" r:id="rId8"/>
    <p:sldLayoutId id="2147483754" r:id="rId9"/>
    <p:sldLayoutId id="2147483769" r:id="rId10"/>
    <p:sldLayoutId id="2147483772" r:id="rId11"/>
    <p:sldLayoutId id="2147483755" r:id="rId12"/>
    <p:sldLayoutId id="2147483756" r:id="rId13"/>
    <p:sldLayoutId id="2147483757" r:id="rId14"/>
    <p:sldLayoutId id="2147483764" r:id="rId15"/>
    <p:sldLayoutId id="2147483758" r:id="rId16"/>
    <p:sldLayoutId id="2147483760" r:id="rId17"/>
    <p:sldLayoutId id="2147483761" r:id="rId18"/>
    <p:sldLayoutId id="2147483762" r:id="rId19"/>
    <p:sldLayoutId id="2147483746" r:id="rId20"/>
    <p:sldLayoutId id="2147483747" r:id="rId21"/>
    <p:sldLayoutId id="2147483748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+mn-lt"/>
          <a:ea typeface="+mn-ea"/>
          <a:cs typeface="+mn-cs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4pPr>
      <a:lvl5pPr marL="1077913" indent="-27305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»"/>
        <a:defRPr lang="en-US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90000"/>
        </a:lnSpc>
        <a:spcBef>
          <a:spcPts val="600"/>
        </a:spcBef>
        <a:buFont typeface="Roboto" panose="02000000000000000000" pitchFamily="2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234">
          <p15:clr>
            <a:srgbClr val="F26B43"/>
          </p15:clr>
        </p15:guide>
        <p15:guide id="6" pos="3840">
          <p15:clr>
            <a:srgbClr val="F26B43"/>
          </p15:clr>
        </p15:guide>
        <p15:guide id="8" pos="74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github.com/Nick36" TargetMode="External"/><Relationship Id="rId4" Type="http://schemas.openxmlformats.org/officeDocument/2006/relationships/hyperlink" Target="https://www.linkedin.com/in/nikolay-paleshnikov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aws.amazon.com/cli/latest/" TargetMode="External"/><Relationship Id="rId3" Type="http://schemas.openxmlformats.org/officeDocument/2006/relationships/hyperlink" Target="https://scoop.sh/" TargetMode="Externa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6.svg"/><Relationship Id="rId4" Type="http://schemas.openxmlformats.org/officeDocument/2006/relationships/hyperlink" Target="https://docs.aws.amazon.com/cli/latest/userguide/getting-started-install.html" TargetMode="Externa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Placeholder 8" descr="A group of tall buildings&#10;&#10;Description automatically generated with low confidence">
            <a:extLst>
              <a:ext uri="{FF2B5EF4-FFF2-40B4-BE49-F238E27FC236}">
                <a16:creationId xmlns:a16="http://schemas.microsoft.com/office/drawing/2014/main" id="{800A731B-0CAB-C86A-7FE3-8CF79482B6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" b="25"/>
          <a:stretch/>
        </p:blipFill>
        <p:spPr>
          <a:xfrm>
            <a:off x="0" y="0"/>
            <a:ext cx="12192000" cy="6857999"/>
          </a:xfrm>
        </p:spPr>
      </p:pic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3AD4169A-353F-F752-5857-1818800D9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95292CFB-653E-C75E-3F0F-7CD335BB2E5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AC1994AA-CB19-824C-CBCD-5A58B9CE6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048" y="2438400"/>
            <a:ext cx="4793932" cy="1371600"/>
          </a:xfrm>
        </p:spPr>
        <p:txBody>
          <a:bodyPr/>
          <a:lstStyle/>
          <a:p>
            <a:r>
              <a:rPr lang="de-DE" dirty="0"/>
              <a:t>AWS Crash Course</a:t>
            </a:r>
            <a:endParaRPr lang="en-US" dirty="0"/>
          </a:p>
        </p:txBody>
      </p:sp>
      <p:sp>
        <p:nvSpPr>
          <p:cNvPr id="38" name="Subtitle 37">
            <a:extLst>
              <a:ext uri="{FF2B5EF4-FFF2-40B4-BE49-F238E27FC236}">
                <a16:creationId xmlns:a16="http://schemas.microsoft.com/office/drawing/2014/main" id="{518A9044-FD95-9A66-EFCA-6ABFC2B73D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0048" y="3810000"/>
            <a:ext cx="4793932" cy="353943"/>
          </a:xfrm>
        </p:spPr>
        <p:txBody>
          <a:bodyPr/>
          <a:lstStyle/>
          <a:p>
            <a:r>
              <a:rPr lang="en-US" dirty="0"/>
              <a:t>09.12.2023</a:t>
            </a: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57360E61-5E7E-2B1B-85CB-267BE97805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2173F72-F59E-01D8-EB4D-1B5EA8F1C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0D7A08F-E141-B73A-5F9D-A6C37E9887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2023 NTT DATA Deutschland 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0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DynamoDB is a NoSQL database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Table</a:t>
            </a:r>
            <a:r>
              <a:rPr lang="en-US" sz="1800" dirty="0"/>
              <a:t>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collection of data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Item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group of attributes that is uniquely identifiable among all other item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tems in DynamoDB are similar in many ways to records or rows in other database systems. 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In DynamoDB, there is no limit to the number of items store in a tabl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Attribut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ttributes in DynamoDB are similar in many ways to fields or columns in other database system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Picture 3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2A6E7223-D8B3-FC64-FF83-72FEA82FD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406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imary key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The primary key uniquely identifies each item in the table, </a:t>
            </a:r>
            <a:br>
              <a:rPr lang="en-US" sz="1800" dirty="0"/>
            </a:br>
            <a:r>
              <a:rPr lang="en-US" sz="1800" dirty="0"/>
              <a:t>so that no two items can have the same key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Simple primary keys have a single attribute: the </a:t>
            </a:r>
            <a:r>
              <a:rPr lang="en-US" sz="1800" b="1" dirty="0"/>
              <a:t>partition key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Composite primary key are composed of two attributes: </a:t>
            </a:r>
            <a:br>
              <a:rPr lang="en-US" sz="1800" dirty="0"/>
            </a:br>
            <a:r>
              <a:rPr lang="en-US" sz="1800" dirty="0"/>
              <a:t>the partition key and a </a:t>
            </a:r>
            <a:r>
              <a:rPr lang="en-US" sz="1800" b="1" dirty="0"/>
              <a:t>sort key</a:t>
            </a:r>
            <a:r>
              <a:rPr lang="en-US" sz="1800" dirty="0"/>
              <a:t>.</a:t>
            </a:r>
          </a:p>
          <a:p>
            <a:pPr>
              <a:lnSpc>
                <a:spcPct val="100000"/>
              </a:lnSpc>
            </a:pPr>
            <a:br>
              <a:rPr lang="en-US" sz="1800" dirty="0"/>
            </a:br>
            <a:r>
              <a:rPr lang="en-US" sz="1800" dirty="0"/>
              <a:t>In a plain DynamoDB table, items can only be queried with their primary key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</a:t>
            </a:r>
            <a:r>
              <a:rPr lang="en-US" sz="1800" i="1" dirty="0"/>
              <a:t>secondary index</a:t>
            </a:r>
            <a:r>
              <a:rPr lang="en-US" sz="1800" dirty="0"/>
              <a:t> allows data queries with alternate keys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Global secondary index </a:t>
            </a:r>
            <a:r>
              <a:rPr lang="en-US" sz="1800" dirty="0"/>
              <a:t>– an index whose both partition key </a:t>
            </a:r>
            <a:br>
              <a:rPr lang="en-US" sz="1800" dirty="0"/>
            </a:br>
            <a:r>
              <a:rPr lang="en-US" sz="1800" dirty="0"/>
              <a:t>and sort key can be different from those of the primary key.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Local secondary index</a:t>
            </a:r>
            <a:r>
              <a:rPr lang="en-US" sz="1800" dirty="0"/>
              <a:t> – an index that has the same partition </a:t>
            </a:r>
            <a:br>
              <a:rPr lang="en-US" sz="1800" dirty="0"/>
            </a:br>
            <a:r>
              <a:rPr lang="en-US" sz="1800" dirty="0"/>
              <a:t>key as the table, but a different sort key.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B333E081-7B22-2C6C-F753-1ACA024397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8022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DynamoDB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table </a:t>
            </a:r>
            <a:r>
              <a:rPr lang="en-US" sz="1800" i="1" dirty="0"/>
              <a:t>Music</a:t>
            </a:r>
            <a:r>
              <a:rPr lang="en-US" sz="1800" dirty="0"/>
              <a:t> with partition key </a:t>
            </a:r>
            <a:r>
              <a:rPr lang="en-US" sz="1800" i="1" dirty="0"/>
              <a:t>Artist 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and sort key </a:t>
            </a:r>
            <a:r>
              <a:rPr lang="en-US" sz="1800" i="1" dirty="0" err="1"/>
              <a:t>SongTitle</a:t>
            </a:r>
            <a:endParaRPr lang="en-US" sz="1800" i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tabl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dd a global secondary index </a:t>
            </a:r>
            <a:r>
              <a:rPr lang="en-US" sz="1800" i="1" dirty="0" err="1"/>
              <a:t>AlbumIndex</a:t>
            </a:r>
            <a:r>
              <a:rPr lang="en-US" sz="1800" dirty="0"/>
              <a:t> </a:t>
            </a:r>
            <a:br>
              <a:rPr lang="en-US" sz="1800" dirty="0"/>
            </a:br>
            <a:r>
              <a:rPr lang="en-US" sz="1800" dirty="0"/>
              <a:t>with hash attribute </a:t>
            </a:r>
            <a:r>
              <a:rPr lang="en-US" sz="1800" i="1" dirty="0" err="1"/>
              <a:t>AlbumTitle</a:t>
            </a:r>
            <a:r>
              <a:rPr lang="en-US" sz="1800" dirty="0"/>
              <a:t> 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scribe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t at least two items into the tab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pdate the album title of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et an item by ke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rtis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uery the table by album tit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can the entire table into a JSON fil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n item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C71ABC-A334-7553-AED3-1901C3E9B89A}"/>
              </a:ext>
            </a:extLst>
          </p:cNvPr>
          <p:cNvSpPr txBox="1"/>
          <p:nvPr/>
        </p:nvSpPr>
        <p:spPr>
          <a:xfrm>
            <a:off x="4664710" y="3461717"/>
            <a:ext cx="7155815" cy="129266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/>
                </a:solidFill>
              </a:rPr>
              <a:t>Nota bene</a:t>
            </a:r>
            <a:r>
              <a:rPr lang="en-US" sz="1800" dirty="0">
                <a:solidFill>
                  <a:schemeClr val="tx1"/>
                </a:solidFill>
              </a:rPr>
              <a:t>: Always use a query instead of a scan with a filter expression! </a:t>
            </a:r>
            <a:r>
              <a:rPr lang="en-US" sz="1800" dirty="0"/>
              <a:t>The scan command is not only slow but also costly, as you will be charged for every scanned item. If you perform a query instead, you will only be charged for the matched results.</a:t>
            </a:r>
          </a:p>
        </p:txBody>
      </p:sp>
      <p:pic>
        <p:nvPicPr>
          <p:cNvPr id="5" name="Picture 4" descr="A blue object with white border&#10;&#10;Description automatically generated">
            <a:extLst>
              <a:ext uri="{FF2B5EF4-FFF2-40B4-BE49-F238E27FC236}">
                <a16:creationId xmlns:a16="http://schemas.microsoft.com/office/drawing/2014/main" id="{382C0AF9-32A8-BD80-EDA6-9A9A666DDA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6545" y="422705"/>
            <a:ext cx="2392718" cy="216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015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s are serverless functions that enable code execution</a:t>
            </a:r>
            <a:br>
              <a:rPr lang="en-US" sz="1800" dirty="0"/>
            </a:br>
            <a:r>
              <a:rPr lang="en-US" sz="1800" dirty="0"/>
              <a:t>in response to events without the need to manage server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y greatly simplify application development and can </a:t>
            </a:r>
            <a:br>
              <a:rPr lang="en-US" sz="1800" dirty="0"/>
            </a:br>
            <a:r>
              <a:rPr lang="en-US" sz="1800" dirty="0"/>
              <a:t>significantly reduce operational overhea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stances of cloud functions are added and removed dynamically</a:t>
            </a:r>
            <a:br>
              <a:rPr lang="en-US" sz="1800" dirty="0"/>
            </a:br>
            <a:r>
              <a:rPr lang="en-US" sz="1800" dirty="0"/>
              <a:t>to achieve better scalability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When a new instance handles its first request, the response time increases, </a:t>
            </a:r>
            <a:br>
              <a:rPr lang="en-US" sz="1800" dirty="0"/>
            </a:br>
            <a:r>
              <a:rPr lang="en-US" sz="1800" dirty="0"/>
              <a:t>which is called a cold start or start-up latenc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cold start comprises the following steps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Fetch the code from external persistent storage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pin up a container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oad the code in memory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un the function’s handler metho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240ECB-592A-A2FE-AA2A-19E71E789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31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Lambda Limi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Runtime Environment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ephemeral disk space is limited to 512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emory range is from 128 to 1024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default deployment package size is 50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ximum execution timeout for a function is 15 minutes.</a:t>
            </a:r>
            <a:br>
              <a:rPr lang="en-US" sz="1800" dirty="0"/>
            </a:b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Requests limitations:</a:t>
            </a:r>
            <a:br>
              <a:rPr lang="en-US" sz="1800" dirty="0"/>
            </a:b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quest and response (synchronous calls) body payload size can be up to 6 MB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vent request (asynchronous calls) size can be up to 256 KB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C19F9FE-D567-B371-050C-83B6864C8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865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Lambda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takes a name and returns </a:t>
            </a:r>
            <a:r>
              <a:rPr lang="en-US" sz="1800" i="1" dirty="0"/>
              <a:t>Hello {name}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writes a string from user input to an S3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 Lambda function that stores a new item from user input into DynamoDB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Upload the Lambda functions to AWS and test them. Don’t forget to delete all resources in the end.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You can program in your </a:t>
            </a:r>
            <a:r>
              <a:rPr lang="en-US" sz="1800" dirty="0" err="1"/>
              <a:t>favourite</a:t>
            </a:r>
            <a:r>
              <a:rPr lang="en-US" sz="1800" dirty="0"/>
              <a:t> languag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A21BA41-B20A-B0A4-6A66-2987B2EAA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7350" y="729375"/>
            <a:ext cx="1593850" cy="15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11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PI Gatewa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PI gateway can be used for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ublish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aintain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monitoring, and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curing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HTTP-based RESTful API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35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API Gateway Ex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n API gateway to manage a DynamoDB tabl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API gateways for your Lambda func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68EEB4-2787-8980-0850-930CFA46D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58047" y="620712"/>
            <a:ext cx="1507966" cy="182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0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loudFront</a:t>
            </a: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A global content delivery network (CDN)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Route 53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WS’ domain name system (DNS)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Load Balancing (ELB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s incoming application traffic across multiple target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FAB04DE2-040E-CE25-9191-1DDB2CA12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1724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Elastic Container Registry (ECR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Docker container registry that simplifie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the storage, management, and deployment of Docker container imag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Container Service (EC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light-weight container orchestration servic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Elastic Kubernetes Service (EK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Kubernetes service for container orchestration at scal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43AC338D-FB19-F7D9-8057-9E87AB654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1892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Introduction</a:t>
            </a:r>
          </a:p>
        </p:txBody>
      </p:sp>
      <p:pic>
        <p:nvPicPr>
          <p:cNvPr id="5" name="Picture 4" descr="A young person in a white shirt&#10;&#10;Description automatically generated">
            <a:extLst>
              <a:ext uri="{FF2B5EF4-FFF2-40B4-BE49-F238E27FC236}">
                <a16:creationId xmlns:a16="http://schemas.microsoft.com/office/drawing/2014/main" id="{B5F2C4F0-FA05-1EA5-F4EE-A8A6D2095B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0" r="1551"/>
          <a:stretch/>
        </p:blipFill>
        <p:spPr>
          <a:xfrm>
            <a:off x="371475" y="1412875"/>
            <a:ext cx="3657600" cy="4824413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4267199" y="1412875"/>
            <a:ext cx="7175501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/>
              <a:t>Nikolay Paleshnikov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</a:t>
            </a:r>
            <a:r>
              <a:rPr lang="en-US" sz="1800" b="0" i="0" u="none" strike="noStrike" baseline="0" dirty="0"/>
              <a:t>enior technical consultant at NTT DATA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Main expertise: cloud-native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ure, m</a:t>
            </a:r>
            <a:r>
              <a:rPr lang="en-US" sz="1800" dirty="0"/>
              <a:t>icroservices, </a:t>
            </a:r>
            <a:br>
              <a:rPr lang="en-US" sz="1800" dirty="0"/>
            </a:br>
            <a:r>
              <a:rPr lang="en-US" sz="1800" dirty="0"/>
              <a:t>serverless computing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AWS certified developer – associate (soon also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AWS certified solutions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rchitect – associate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ecturer at internal </a:t>
            </a:r>
            <a:r>
              <a:rPr lang="en-US" sz="1800" b="0" i="1" u="none" strike="noStrike" baseline="0" dirty="0"/>
              <a:t>Java </a:t>
            </a:r>
            <a:r>
              <a:rPr lang="en-US" sz="1800" b="0" i="1" u="none" strike="noStrike" baseline="0" dirty="0" err="1"/>
              <a:t>MicroProfile</a:t>
            </a:r>
            <a:r>
              <a:rPr lang="en-US" sz="1800" b="0" i="1" u="none" strike="noStrike" baseline="0" dirty="0"/>
              <a:t> / </a:t>
            </a:r>
            <a:r>
              <a:rPr lang="en-US" sz="1800" b="0" i="1" u="none" strike="noStrike" baseline="0" dirty="0" err="1"/>
              <a:t>Quarkus</a:t>
            </a:r>
            <a:r>
              <a:rPr lang="en-US" sz="1800" b="0" i="0" u="none" strike="noStrike" baseline="0" dirty="0"/>
              <a:t> and</a:t>
            </a:r>
            <a:r>
              <a:rPr lang="en-US" sz="1800" dirty="0"/>
              <a:t> </a:t>
            </a:r>
            <a:r>
              <a:rPr lang="en-US" sz="1800" b="0" i="1" u="none" strike="noStrike" baseline="0" dirty="0"/>
              <a:t>Kafka</a:t>
            </a:r>
            <a:r>
              <a:rPr lang="en-US" sz="1800" b="0" i="0" u="none" strike="noStrike" baseline="0" dirty="0"/>
              <a:t> training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/>
              <a:t>Organiser</a:t>
            </a:r>
            <a:r>
              <a:rPr lang="en-US" sz="1800" b="0" i="0" u="none" strike="noStrike" baseline="0" dirty="0"/>
              <a:t> of external </a:t>
            </a:r>
            <a:r>
              <a:rPr lang="en-US" sz="1800" b="0" i="1" u="none" strike="noStrike" baseline="0" dirty="0"/>
              <a:t>Developer for a day </a:t>
            </a:r>
            <a:r>
              <a:rPr lang="en-US" sz="1800" dirty="0"/>
              <a:t>w</a:t>
            </a:r>
            <a:r>
              <a:rPr lang="en-US" sz="1800" b="0" i="0" u="none" strike="noStrike" baseline="0" dirty="0"/>
              <a:t>orkshop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/>
              <a:t>B. Sc. </a:t>
            </a:r>
            <a:r>
              <a:rPr lang="en-US" sz="1800" dirty="0"/>
              <a:t>a</a:t>
            </a:r>
            <a:r>
              <a:rPr lang="en-US" sz="1800" b="0" i="0" u="none" strike="noStrike" baseline="0" dirty="0"/>
              <a:t>nd M. Sc. in Computer </a:t>
            </a:r>
            <a:r>
              <a:rPr lang="en-US" sz="1800" dirty="0"/>
              <a:t>s</a:t>
            </a:r>
            <a:r>
              <a:rPr lang="en-US" sz="1800" b="0" i="0" u="none" strike="noStrike" baseline="0" dirty="0"/>
              <a:t>cience at the </a:t>
            </a:r>
            <a:br>
              <a:rPr lang="en-US" sz="1800" b="0" i="0" u="none" strike="noStrike" baseline="0" dirty="0"/>
            </a:br>
            <a:r>
              <a:rPr lang="en-US" sz="1800" b="0" i="0" u="none" strike="noStrike" baseline="0" dirty="0"/>
              <a:t>RWTH Aachen univers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4"/>
              </a:rPr>
              <a:t>https://www.linkedin.com/in/nikolay-paleshnikov/</a:t>
            </a:r>
            <a:endParaRPr lang="en-US" sz="1800" b="0" i="0" u="none" strike="noStrike" baseline="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hlinkClick r:id="rId5"/>
              </a:rPr>
              <a:t>https://github.com/Nick36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63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Relational Database Service (RD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managed database service that support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st SQL database engine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uror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proprietary relational database service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ith full MySQL and PostgreSQL compatibility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Athena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serverless, interactive data lake analytics servi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9520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Kinesi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cesses and analyzes real-time data and data streams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Queue Service (SQ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fully managed message queuing system for microservices,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istributed systems, and serverless applications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b="1" dirty="0"/>
              <a:t>Simple Notification Service (SNS)</a:t>
            </a:r>
            <a:br>
              <a:rPr lang="en-US" sz="1800" b="1" dirty="0"/>
            </a:br>
            <a:r>
              <a:rPr lang="en-US" sz="1800" dirty="0"/>
              <a:t>A publish-subscribe messaging system with e-mail and SMS integration.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31155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Further AW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b="1" dirty="0"/>
              <a:t>Cogito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Provides user sing-up and sing-in functionality as well as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n identity store for customer identity and access management.</a:t>
            </a:r>
            <a:br>
              <a:rPr lang="en-US" sz="1800" b="1" dirty="0"/>
            </a:b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Watch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Monitors all AWS resources and applications in the account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  <a:p>
            <a:pPr>
              <a:lnSpc>
                <a:spcPct val="100000"/>
              </a:lnSpc>
            </a:pPr>
            <a:r>
              <a:rPr lang="en-US" sz="1800" b="1" dirty="0"/>
              <a:t>CloudTrai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Logs all API calls made on the account to help with change tracking, </a:t>
            </a:r>
            <a:br>
              <a:rPr lang="en-US" sz="1800" dirty="0"/>
            </a:br>
            <a:r>
              <a:rPr lang="en-US" sz="1800" dirty="0"/>
              <a:t>security incident investigation, and compliance.</a:t>
            </a:r>
          </a:p>
          <a:p>
            <a:pPr>
              <a:lnSpc>
                <a:spcPct val="100000"/>
              </a:lnSpc>
            </a:pPr>
            <a:endParaRPr lang="en-US" sz="1800" b="1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943D20F4-10CB-F8F7-73AD-30F8B5228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5672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en-US" dirty="0"/>
              <a:t>Summary and Feedback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5" name="Picture 4" descr="A diagram of a company's certification&#10;&#10;Description automatically generated">
            <a:extLst>
              <a:ext uri="{FF2B5EF4-FFF2-40B4-BE49-F238E27FC236}">
                <a16:creationId xmlns:a16="http://schemas.microsoft.com/office/drawing/2014/main" id="{C27E638F-5853-DCFC-A898-DE385FDDB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2958" y="901124"/>
            <a:ext cx="9146084" cy="505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471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4">
            <a:extLst>
              <a:ext uri="{FF2B5EF4-FFF2-40B4-BE49-F238E27FC236}">
                <a16:creationId xmlns:a16="http://schemas.microsoft.com/office/drawing/2014/main" id="{AD5ECCA4-7233-7558-F351-2DB6B73EF1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5">
            <a:extLst>
              <a:ext uri="{FF2B5EF4-FFF2-40B4-BE49-F238E27FC236}">
                <a16:creationId xmlns:a16="http://schemas.microsoft.com/office/drawing/2014/main" id="{0F1E3A14-CDF4-E53C-DB86-6554D71AC4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6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 dirty="0">
                <a:latin typeface="+mj-lt"/>
                <a:ea typeface="+mj-ea"/>
                <a:cs typeface="+mj-cs"/>
              </a:rPr>
              <a:t>Timetab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graphicFrame>
        <p:nvGraphicFramePr>
          <p:cNvPr id="25" name="TextBox 2">
            <a:extLst>
              <a:ext uri="{FF2B5EF4-FFF2-40B4-BE49-F238E27FC236}">
                <a16:creationId xmlns:a16="http://schemas.microsoft.com/office/drawing/2014/main" id="{E8A0D1E4-005A-26D6-AA48-FC7697C389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5636439"/>
              </p:ext>
            </p:extLst>
          </p:nvPr>
        </p:nvGraphicFramePr>
        <p:xfrm>
          <a:off x="371475" y="1412875"/>
          <a:ext cx="11449050" cy="4824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35533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Region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Most AWS services run within a specific geographical </a:t>
            </a:r>
            <a:r>
              <a:rPr lang="en-US" sz="1800" i="0" dirty="0">
                <a:effectLst/>
              </a:rPr>
              <a:t>region</a:t>
            </a:r>
            <a:r>
              <a:rPr lang="en-US" sz="1800" b="0" i="0" dirty="0">
                <a:effectLst/>
              </a:rPr>
              <a:t>. </a:t>
            </a:r>
            <a:br>
              <a:rPr lang="en-US" sz="1800" b="0" i="0" dirty="0">
                <a:effectLst/>
              </a:rPr>
            </a:br>
            <a:r>
              <a:rPr lang="en-US" sz="1800" dirty="0"/>
              <a:t>A region can be chosen upon service creation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b="0" i="0" dirty="0">
              <a:effectLst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vailability zone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very region consists of multiple availability zones </a:t>
            </a:r>
            <a:r>
              <a:rPr lang="en-US" sz="1800" b="1" dirty="0"/>
              <a:t>– </a:t>
            </a:r>
            <a:br>
              <a:rPr lang="en-US" sz="1800" b="1" dirty="0"/>
            </a:br>
            <a:r>
              <a:rPr lang="en-US" sz="1800" dirty="0"/>
              <a:t>a group of physically separated data center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Virtual Private Cloud (VPC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secure and isolated network dedicated to a single customer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lastic Compute Cloud (EC2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EC2 launches virtual servers, known as instances,</a:t>
            </a:r>
            <a:br>
              <a:rPr lang="en-US" sz="1800" dirty="0"/>
            </a:br>
            <a:r>
              <a:rPr lang="en-US" sz="1800" dirty="0"/>
              <a:t>to host and run applic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 dirty="0"/>
              <a:t>© 2023 NTT DATA Deutschland SE</a:t>
            </a:r>
            <a:endParaRPr lang="en-US" sz="600" dirty="0"/>
          </a:p>
        </p:txBody>
      </p:sp>
      <p:pic>
        <p:nvPicPr>
          <p:cNvPr id="5" name="Picture 4" descr="A logo of a company&#10;&#10;Description automatically generated">
            <a:extLst>
              <a:ext uri="{FF2B5EF4-FFF2-40B4-BE49-F238E27FC236}">
                <a16:creationId xmlns:a16="http://schemas.microsoft.com/office/drawing/2014/main" id="{40AAC0DE-6360-437B-114C-C353BC68F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7475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Terminolog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mazon Resource Name (ARN)</a:t>
            </a:r>
            <a:endParaRPr lang="en-US" sz="1800" dirty="0"/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RN uniquely identifies an AWS resource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dentity and Access Management (IAM)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b="0" i="0" dirty="0">
                <a:effectLst/>
              </a:rPr>
              <a:t>IAM centrally manages AWS resource </a:t>
            </a:r>
            <a:r>
              <a:rPr lang="en-US" sz="1800" b="0" i="0" dirty="0" err="1">
                <a:effectLst/>
              </a:rPr>
              <a:t>authorisation</a:t>
            </a:r>
            <a:r>
              <a:rPr lang="en-US" sz="1800" b="0" i="0" dirty="0">
                <a:effectLst/>
              </a:rPr>
              <a:t>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 role grants access to </a:t>
            </a:r>
            <a:r>
              <a:rPr lang="en-US" sz="1800" b="0" i="0" dirty="0">
                <a:effectLst/>
              </a:rPr>
              <a:t>AWS resources and </a:t>
            </a:r>
            <a:r>
              <a:rPr lang="en-US" sz="1800" dirty="0"/>
              <a:t>can be assumed by </a:t>
            </a:r>
            <a:br>
              <a:rPr lang="en-US" sz="1800" dirty="0"/>
            </a:br>
            <a:r>
              <a:rPr lang="en-US" sz="1800" dirty="0"/>
              <a:t>users, user groups or accounts as specified in its trust policy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An access policy defines a set of fine-grained </a:t>
            </a:r>
            <a:r>
              <a:rPr lang="en-US" sz="1800" b="0" i="0" dirty="0">
                <a:effectLst/>
              </a:rPr>
              <a:t>resource </a:t>
            </a:r>
            <a:r>
              <a:rPr lang="en-US" sz="1800" dirty="0"/>
              <a:t>access </a:t>
            </a:r>
            <a:br>
              <a:rPr lang="en-US" sz="1800" dirty="0"/>
            </a:br>
            <a:r>
              <a:rPr lang="en-US" sz="1800" dirty="0"/>
              <a:t>permissions and can be attached to users, user groups or roles.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ccess keys</a:t>
            </a:r>
          </a:p>
          <a:p>
            <a:pPr marL="501750" lvl="1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en-US" sz="1800" dirty="0"/>
              <a:t>Used for authentication in Command-Line Interface (CLI) </a:t>
            </a:r>
            <a:br>
              <a:rPr lang="en-US" sz="1800" dirty="0"/>
            </a:br>
            <a:r>
              <a:rPr lang="en-US" sz="1800" dirty="0"/>
              <a:t>and Software Development Kit (SDK) operations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4DF0B4A2-EF78-B39C-92ED-61A02F5C2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183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332399"/>
          </a:xfrm>
        </p:spPr>
        <p:txBody>
          <a:bodyPr anchor="t">
            <a:normAutofit/>
          </a:bodyPr>
          <a:lstStyle/>
          <a:p>
            <a:r>
              <a:rPr lang="de-DE" sz="2400"/>
              <a:t>Set Up AWS CLI</a:t>
            </a:r>
            <a:endParaRPr lang="de-DE" sz="2400" dirty="0"/>
          </a:p>
        </p:txBody>
      </p:sp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11FBD0F4-8011-91A4-2621-307000A35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/>
          <a:lstStyle/>
          <a:p>
            <a:r>
              <a:rPr lang="de-DE"/>
              <a:t>© 2023 NTT DATA Deutschland S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>
          <a:xfrm>
            <a:off x="534398" y="2016813"/>
            <a:ext cx="7158108" cy="334321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ndo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3"/>
              </a:rPr>
              <a:t>https://scoop.sh/</a:t>
            </a: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coop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ur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WS CLI,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reat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ex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:\Users\§USERNAME\.aws\config (Windows) 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~/.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fi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Unix)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llow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ntent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: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[default]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=eu-central-1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ACCESS_KEY_ID=*****</a:t>
            </a:r>
          </a:p>
          <a:p>
            <a:pPr defTabSz="652882">
              <a:spcBef>
                <a:spcPts val="428"/>
              </a:spcBef>
            </a:pPr>
            <a: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_SECRET_ACCESS_KEY=*****</a:t>
            </a:r>
            <a:br>
              <a: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endParaRPr lang="de-DE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14B76-8C4C-2E92-FD98-5A61A3543653}"/>
              </a:ext>
            </a:extLst>
          </p:cNvPr>
          <p:cNvSpPr txBox="1"/>
          <p:nvPr/>
        </p:nvSpPr>
        <p:spPr>
          <a:xfrm>
            <a:off x="3476717" y="2016813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C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rew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all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wscli</a:t>
            </a:r>
            <a:endParaRPr lang="de-DE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305917-1B78-ED7A-049F-76B0915C7A03}"/>
              </a:ext>
            </a:extLst>
          </p:cNvPr>
          <p:cNvSpPr txBox="1"/>
          <p:nvPr/>
        </p:nvSpPr>
        <p:spPr>
          <a:xfrm>
            <a:off x="6465582" y="2014326"/>
            <a:ext cx="4400484" cy="98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52882">
              <a:spcBef>
                <a:spcPts val="428"/>
              </a:spcBef>
            </a:pP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Instructions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ther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operating</a:t>
            </a: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systems</a:t>
            </a:r>
            <a:b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</a:br>
            <a:r>
              <a:rPr lang="de-DE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4"/>
              </a:rPr>
              <a:t>https://docs.aws.amazon.com/cli/latest/userguide/getting-started-install.html</a:t>
            </a:r>
            <a:endParaRPr lang="de-DE" sz="18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BC0CF7A-75C8-F3D4-2740-6E264A89AD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398" y="1048709"/>
            <a:ext cx="814312" cy="732881"/>
          </a:xfrm>
          <a:prstGeom prst="rect">
            <a:avLst/>
          </a:prstGeom>
        </p:spPr>
      </p:pic>
      <p:pic>
        <p:nvPicPr>
          <p:cNvPr id="9" name="Picture 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80811E3-E5C0-101E-4F79-FB70D8E98C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6717" y="940772"/>
            <a:ext cx="748431" cy="857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63B089C-CCB3-E889-CB01-84F5E874E7FE}"/>
              </a:ext>
            </a:extLst>
          </p:cNvPr>
          <p:cNvSpPr txBox="1"/>
          <p:nvPr/>
        </p:nvSpPr>
        <p:spPr>
          <a:xfrm>
            <a:off x="6556401" y="3321142"/>
            <a:ext cx="4400484" cy="734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</a:rPr>
              <a:t>AWS CLI reference</a:t>
            </a:r>
            <a:endParaRPr lang="de-DE" sz="2400" dirty="0">
              <a:effectLst/>
            </a:endParaRPr>
          </a:p>
          <a:p>
            <a:pPr marL="0" indent="0" algn="l" rtl="0" eaLnBrk="1" latinLnBrk="0" hangingPunct="1">
              <a:lnSpc>
                <a:spcPct val="110000"/>
              </a:lnSpc>
              <a:spcBef>
                <a:spcPts val="428"/>
              </a:spcBef>
              <a:spcAft>
                <a:spcPts val="0"/>
              </a:spcAft>
            </a:pPr>
            <a:r>
              <a:rPr lang="en-US" sz="1800" kern="1200" dirty="0">
                <a:solidFill>
                  <a:srgbClr val="2E404D"/>
                </a:solidFill>
                <a:effectLst/>
                <a:latin typeface="Roboto" panose="02000000000000000000" pitchFamily="2" charset="0"/>
                <a:ea typeface="+mn-ea"/>
                <a:cs typeface="+mn-cs"/>
                <a:hlinkClick r:id="rId8"/>
              </a:rPr>
              <a:t>https://docs.aws.amazon.com/cli/latest/</a:t>
            </a:r>
            <a:endParaRPr lang="de-DE" sz="2400" dirty="0">
              <a:effectLst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0B4F70F-36D5-CCB6-FF87-16895111F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401" y="1054308"/>
            <a:ext cx="748678" cy="88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332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AWS Serverl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-native architecture is event-driven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loud resources run only when needed, which means green softwar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erverless architecture allows developers to build and run services</a:t>
            </a:r>
            <a:br>
              <a:rPr lang="en-US" sz="1800" dirty="0"/>
            </a:br>
            <a:r>
              <a:rPr lang="en-US" sz="1800" dirty="0"/>
              <a:t>without having to manage the underlying infrastructure.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Some of the most important serverless AWS services are: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3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ynamoDB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ambd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PI Gateway</a:t>
            </a:r>
          </a:p>
          <a:p>
            <a:pPr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Picture 2" descr="A logo of a company&#10;&#10;Description automatically generated">
            <a:extLst>
              <a:ext uri="{FF2B5EF4-FFF2-40B4-BE49-F238E27FC236}">
                <a16:creationId xmlns:a16="http://schemas.microsoft.com/office/drawing/2014/main" id="{7B398053-BDA7-EB44-3CD7-8273CAF45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675" y="620712"/>
            <a:ext cx="3078184" cy="17776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5723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imple Storage Service (S3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S3 provides highly available eventually consistent data storage in the cloud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t can also be used for hosting static websites and low-latency content distributio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Bucke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is is where objects are stored. Its name must be unique and DNS-compatibl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Buckets are replicated across several availability zones in the region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100 buckets per profile is the default limit. </a:t>
            </a:r>
          </a:p>
          <a:p>
            <a:pPr lvl="2">
              <a:lnSpc>
                <a:spcPct val="100000"/>
              </a:lnSpc>
            </a:pPr>
            <a:endParaRPr lang="en-US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Prefix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The path preceding the object name.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 prefix is similar in many ways to a folder.</a:t>
            </a:r>
          </a:p>
          <a:p>
            <a:pPr lvl="2">
              <a:lnSpc>
                <a:spcPct val="100000"/>
              </a:lnSpc>
            </a:pPr>
            <a:endParaRPr lang="en-US" sz="1800" b="1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1" dirty="0"/>
              <a:t>Object</a:t>
            </a:r>
          </a:p>
          <a:p>
            <a:pPr lvl="2">
              <a:lnSpc>
                <a:spcPct val="100000"/>
              </a:lnSpc>
            </a:pPr>
            <a:r>
              <a:rPr lang="en-US" sz="1800" dirty="0"/>
              <a:t>An object is a file and any metadata that describes that file. It can be up to 5 TB in size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10485DC-97AA-C8DC-04AE-01F3F8EA0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2441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>
            <a:extLst>
              <a:ext uri="{FF2B5EF4-FFF2-40B4-BE49-F238E27FC236}">
                <a16:creationId xmlns:a16="http://schemas.microsoft.com/office/drawing/2014/main" id="{12895C03-CF2D-7C8F-6EF7-363EC3665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3375"/>
            <a:ext cx="11449050" cy="7920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b="0" kern="1200">
                <a:latin typeface="+mj-lt"/>
                <a:ea typeface="+mj-ea"/>
                <a:cs typeface="+mj-cs"/>
              </a:rPr>
              <a:t>S3 Excerci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5C0962-7F1E-81EC-21BC-38063BED111F}"/>
              </a:ext>
            </a:extLst>
          </p:cNvPr>
          <p:cNvSpPr txBox="1"/>
          <p:nvPr/>
        </p:nvSpPr>
        <p:spPr bwMode="gray">
          <a:xfrm>
            <a:off x="371475" y="1412875"/>
            <a:ext cx="11449050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te bucket </a:t>
            </a:r>
            <a:r>
              <a:rPr lang="en-US" sz="1800" i="1" dirty="0"/>
              <a:t>s3-exercise-*****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all S3 buckets in your accoun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Create files </a:t>
            </a:r>
            <a:r>
              <a:rPr lang="en-US" sz="1800" i="1" dirty="0"/>
              <a:t>cv.txt, cv.pdf and cv.log </a:t>
            </a:r>
            <a:r>
              <a:rPr lang="en-US" sz="1800" dirty="0"/>
              <a:t>and save them </a:t>
            </a:r>
            <a:br>
              <a:rPr lang="en-US" sz="1800" dirty="0"/>
            </a:br>
            <a:r>
              <a:rPr lang="en-US" sz="1800" dirty="0"/>
              <a:t>to the exercise bucket under </a:t>
            </a:r>
            <a:r>
              <a:rPr lang="en-US" sz="1800" i="1" dirty="0"/>
              <a:t>/application</a:t>
            </a:r>
            <a:r>
              <a:rPr lang="en-US" sz="18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List bucket contents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Synchronise</a:t>
            </a:r>
            <a:r>
              <a:rPr lang="en-US" sz="1800" dirty="0"/>
              <a:t> bucket contents with your local directory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non-text files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all files under the </a:t>
            </a:r>
            <a:r>
              <a:rPr lang="en-US" sz="1800" i="1" dirty="0"/>
              <a:t>/application </a:t>
            </a:r>
            <a:r>
              <a:rPr lang="en-US" sz="1800" dirty="0"/>
              <a:t>prefix from your bucket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Delete the exercise bucket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C43D342-31D5-AB7A-FEA8-3B1AC27E0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63358"/>
            <a:ext cx="4852035" cy="88901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600"/>
              <a:t>© 2023 NTT DATA Deutschland SE</a:t>
            </a:r>
            <a:endParaRPr lang="en-US" sz="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846688-6E01-BCC8-99B0-D16C7793A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48750" y="333375"/>
            <a:ext cx="2025650" cy="242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T DATA LIGHT ">
  <a:themeElements>
    <a:clrScheme name="NTT 2023 Final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Roboto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2630E3B9-1D7F-444E-A775-BD65F304EF17}"/>
    </a:ext>
  </a:extLst>
</a:theme>
</file>

<file path=ppt/theme/theme2.xml><?xml version="1.0" encoding="utf-8"?>
<a:theme xmlns:a="http://schemas.openxmlformats.org/drawingml/2006/main" name="NTT DATA DARK ">
  <a:themeElements>
    <a:clrScheme name="Benutzerdefiniert 3">
      <a:dk1>
        <a:srgbClr val="000000"/>
      </a:dk1>
      <a:lt1>
        <a:srgbClr val="FFFFFF"/>
      </a:lt1>
      <a:dk2>
        <a:srgbClr val="2E404D"/>
      </a:dk2>
      <a:lt2>
        <a:srgbClr val="19A3FC"/>
      </a:lt2>
      <a:accent1>
        <a:srgbClr val="070F26"/>
      </a:accent1>
      <a:accent2>
        <a:srgbClr val="0072BC"/>
      </a:accent2>
      <a:accent3>
        <a:srgbClr val="005B96"/>
      </a:accent3>
      <a:accent4>
        <a:srgbClr val="00DFED"/>
      </a:accent4>
      <a:accent5>
        <a:srgbClr val="00CB5D"/>
      </a:accent5>
      <a:accent6>
        <a:srgbClr val="949494"/>
      </a:accent6>
      <a:hlink>
        <a:srgbClr val="19A3FC"/>
      </a:hlink>
      <a:folHlink>
        <a:srgbClr val="0072BC"/>
      </a:folHlink>
    </a:clrScheme>
    <a:fontScheme name="NTT 202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36000" tIns="36000" rIns="36000" bIns="36000" rtlCol="0" anchor="ctr"/>
      <a:lstStyle>
        <a:defPPr algn="ctr">
          <a:lnSpc>
            <a:spcPct val="110000"/>
          </a:lnSpc>
          <a:spcBef>
            <a:spcPts val="600"/>
          </a:spcBef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Yellow">
      <a:srgbClr val="FFC400"/>
    </a:custClr>
    <a:custClr name="Orange">
      <a:srgbClr val="FF7A00"/>
    </a:custClr>
    <a:custClr name="Orange 100">
      <a:srgbClr val="E42600"/>
    </a:custClr>
    <a:custClr name="Orange 150">
      <a:srgbClr val="B22000"/>
    </a:custClr>
  </a:custClrLst>
  <a:extLst>
    <a:ext uri="{05A4C25C-085E-4340-85A3-A5531E510DB2}">
      <thm15:themeFamily xmlns:thm15="http://schemas.microsoft.com/office/thememl/2012/main" name="Blank.pptx" id="{810DA416-13B4-40CB-A2B4-93B85FDD0B18}" vid="{35AE8F2B-43FC-4A03-9CA0-75EE5AE34702}"/>
    </a:ext>
  </a:extLst>
</a:theme>
</file>

<file path=ppt/theme/theme3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ntt">
      <a:dk1>
        <a:srgbClr val="000000"/>
      </a:dk1>
      <a:lt1>
        <a:srgbClr val="FFFFFF"/>
      </a:lt1>
      <a:dk2>
        <a:srgbClr val="404040"/>
      </a:dk2>
      <a:lt2>
        <a:srgbClr val="DEE8F4"/>
      </a:lt2>
      <a:accent1>
        <a:srgbClr val="6785C1"/>
      </a:accent1>
      <a:accent2>
        <a:srgbClr val="0F1C50"/>
      </a:accent2>
      <a:accent3>
        <a:srgbClr val="0080B1"/>
      </a:accent3>
      <a:accent4>
        <a:srgbClr val="E6B600"/>
      </a:accent4>
      <a:accent5>
        <a:srgbClr val="BC4328"/>
      </a:accent5>
      <a:accent6>
        <a:srgbClr val="7F7F7F"/>
      </a:accent6>
      <a:hlink>
        <a:srgbClr val="6785C1"/>
      </a:hlink>
      <a:folHlink>
        <a:srgbClr val="0F1C50"/>
      </a:folHlink>
    </a:clrScheme>
    <a:fontScheme name="NTT Data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3_ENG_OneNTTPPTMaster</Template>
  <TotalTime>0</TotalTime>
  <Words>2143</Words>
  <Application>Microsoft Office PowerPoint</Application>
  <PresentationFormat>Widescreen</PresentationFormat>
  <Paragraphs>302</Paragraphs>
  <Slides>2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dobe Garamond Pro</vt:lpstr>
      <vt:lpstr>Arial</vt:lpstr>
      <vt:lpstr>Arial</vt:lpstr>
      <vt:lpstr>Georgia</vt:lpstr>
      <vt:lpstr>Myriad Pro SemiCond</vt:lpstr>
      <vt:lpstr>Roboto</vt:lpstr>
      <vt:lpstr>Symbol</vt:lpstr>
      <vt:lpstr>Wingdings</vt:lpstr>
      <vt:lpstr>NTT DATA LIGHT </vt:lpstr>
      <vt:lpstr>NTT DATA DARK </vt:lpstr>
      <vt:lpstr>think-cell Folie</vt:lpstr>
      <vt:lpstr>AWS Crash Course</vt:lpstr>
      <vt:lpstr>Introduction</vt:lpstr>
      <vt:lpstr>Timetable</vt:lpstr>
      <vt:lpstr>AWS Terminology</vt:lpstr>
      <vt:lpstr>AWS Terminology</vt:lpstr>
      <vt:lpstr>Set Up AWS CLI</vt:lpstr>
      <vt:lpstr>AWS Serverless</vt:lpstr>
      <vt:lpstr>Simple Storage Service (S3)</vt:lpstr>
      <vt:lpstr>S3 Excercise</vt:lpstr>
      <vt:lpstr>DynamoDB</vt:lpstr>
      <vt:lpstr>DynamoDB</vt:lpstr>
      <vt:lpstr>DynamoDB Excercise</vt:lpstr>
      <vt:lpstr>Lambda</vt:lpstr>
      <vt:lpstr>Lambda Limitations</vt:lpstr>
      <vt:lpstr>Lambda Exercise</vt:lpstr>
      <vt:lpstr>API Gateway</vt:lpstr>
      <vt:lpstr>API Gateway Exercise</vt:lpstr>
      <vt:lpstr>Further AWS Services</vt:lpstr>
      <vt:lpstr>Further AWS Services</vt:lpstr>
      <vt:lpstr>Further AWS Services</vt:lpstr>
      <vt:lpstr>Further AWS Services</vt:lpstr>
      <vt:lpstr>Further AWS Services</vt:lpstr>
      <vt:lpstr>Summary and Feedback</vt:lpstr>
      <vt:lpstr>PowerPoint Presentation</vt:lpstr>
    </vt:vector>
  </TitlesOfParts>
  <Company>NTT D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S Crash Kurs</dc:title>
  <dc:creator>Nikolay Paleshnikov</dc:creator>
  <cp:keywords>NTT Global</cp:keywords>
  <cp:lastModifiedBy>Nikolay Paleshnikov</cp:lastModifiedBy>
  <cp:revision>20</cp:revision>
  <dcterms:created xsi:type="dcterms:W3CDTF">2023-10-23T16:23:26Z</dcterms:created>
  <dcterms:modified xsi:type="dcterms:W3CDTF">2023-11-29T17:2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qChecksum">
    <vt:lpwstr>31278614DAE67F8DE8A24ABB57B81299</vt:lpwstr>
  </property>
  <property fmtid="{D5CDD505-2E9C-101B-9397-08002B2CF9AE}" pid="3" name="CqInformationType">
    <vt:lpwstr>Working Standard</vt:lpwstr>
  </property>
  <property fmtid="{D5CDD505-2E9C-101B-9397-08002B2CF9AE}" pid="4" name="CqVitality">
    <vt:lpwstr/>
  </property>
  <property fmtid="{D5CDD505-2E9C-101B-9397-08002B2CF9AE}" pid="5" name="CqDisclosureRange">
    <vt:lpwstr/>
  </property>
  <property fmtid="{D5CDD505-2E9C-101B-9397-08002B2CF9AE}" pid="6" name="CqDisclosureRangeStamp">
    <vt:lpwstr/>
  </property>
  <property fmtid="{D5CDD505-2E9C-101B-9397-08002B2CF9AE}" pid="7" name="CqDisclosureRangeLimitation">
    <vt:lpwstr/>
  </property>
  <property fmtid="{D5CDD505-2E9C-101B-9397-08002B2CF9AE}" pid="8" name="CqOwner">
    <vt:lpwstr>WULSCO</vt:lpwstr>
  </property>
  <property fmtid="{D5CDD505-2E9C-101B-9397-08002B2CF9AE}" pid="9" name="CqDepartment">
    <vt:lpwstr/>
  </property>
  <property fmtid="{D5CDD505-2E9C-101B-9397-08002B2CF9AE}" pid="10" name="CqCompanyOwner">
    <vt:lpwstr>EBS Romania SA</vt:lpwstr>
  </property>
</Properties>
</file>